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4679" r:id="rId4"/>
  </p:sldMasterIdLst>
  <p:notesMasterIdLst>
    <p:notesMasterId r:id="rId59"/>
  </p:notesMasterIdLst>
  <p:handoutMasterIdLst>
    <p:handoutMasterId r:id="rId60"/>
  </p:handoutMasterIdLst>
  <p:sldIdLst>
    <p:sldId id="2147477909" r:id="rId5"/>
    <p:sldId id="2147483489" r:id="rId6"/>
    <p:sldId id="2147483445" r:id="rId7"/>
    <p:sldId id="2147483461" r:id="rId8"/>
    <p:sldId id="2147483462" r:id="rId9"/>
    <p:sldId id="2147483463" r:id="rId10"/>
    <p:sldId id="2147483464" r:id="rId11"/>
    <p:sldId id="2147483465" r:id="rId12"/>
    <p:sldId id="2147483467" r:id="rId13"/>
    <p:sldId id="2147483474" r:id="rId14"/>
    <p:sldId id="2147483473" r:id="rId15"/>
    <p:sldId id="2147483475" r:id="rId16"/>
    <p:sldId id="2147483479" r:id="rId17"/>
    <p:sldId id="2147483480" r:id="rId18"/>
    <p:sldId id="2147483481" r:id="rId19"/>
    <p:sldId id="2147483482" r:id="rId20"/>
    <p:sldId id="2147483483" r:id="rId21"/>
    <p:sldId id="2147483484" r:id="rId22"/>
    <p:sldId id="2147483485" r:id="rId23"/>
    <p:sldId id="2147483486" r:id="rId24"/>
    <p:sldId id="2147483487" r:id="rId25"/>
    <p:sldId id="2147483504" r:id="rId26"/>
    <p:sldId id="2147483505" r:id="rId27"/>
    <p:sldId id="2147483508" r:id="rId28"/>
    <p:sldId id="2147483509" r:id="rId29"/>
    <p:sldId id="2147483510" r:id="rId30"/>
    <p:sldId id="2147483511" r:id="rId31"/>
    <p:sldId id="2147483506" r:id="rId32"/>
    <p:sldId id="2147483468" r:id="rId33"/>
    <p:sldId id="2147483469" r:id="rId34"/>
    <p:sldId id="2147483470" r:id="rId35"/>
    <p:sldId id="2147483471" r:id="rId36"/>
    <p:sldId id="2147483472" r:id="rId37"/>
    <p:sldId id="2147483507" r:id="rId38"/>
    <p:sldId id="2147483503" r:id="rId39"/>
    <p:sldId id="2147483491" r:id="rId40"/>
    <p:sldId id="2147483500" r:id="rId41"/>
    <p:sldId id="2147483492" r:id="rId42"/>
    <p:sldId id="2147483493" r:id="rId43"/>
    <p:sldId id="2147483494" r:id="rId44"/>
    <p:sldId id="2147483495" r:id="rId45"/>
    <p:sldId id="2147483501" r:id="rId46"/>
    <p:sldId id="2147483502" r:id="rId47"/>
    <p:sldId id="2147483496" r:id="rId48"/>
    <p:sldId id="2147483497" r:id="rId49"/>
    <p:sldId id="2147483513" r:id="rId50"/>
    <p:sldId id="2147483512" r:id="rId51"/>
    <p:sldId id="2147483514" r:id="rId52"/>
    <p:sldId id="2147483515" r:id="rId53"/>
    <p:sldId id="2147483516" r:id="rId54"/>
    <p:sldId id="2147483517" r:id="rId55"/>
    <p:sldId id="2147483518" r:id="rId56"/>
    <p:sldId id="2147483519" r:id="rId57"/>
    <p:sldId id="2147483520" r:id="rId58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Purview" id="{7593C3AB-83D1-4EA4-8289-D2C7D92A583A}">
          <p14:sldIdLst>
            <p14:sldId id="2147477909"/>
            <p14:sldId id="2147483489"/>
            <p14:sldId id="2147483445"/>
            <p14:sldId id="2147483461"/>
            <p14:sldId id="2147483462"/>
            <p14:sldId id="2147483463"/>
            <p14:sldId id="2147483464"/>
            <p14:sldId id="2147483465"/>
            <p14:sldId id="2147483467"/>
            <p14:sldId id="2147483474"/>
            <p14:sldId id="2147483473"/>
            <p14:sldId id="2147483475"/>
            <p14:sldId id="2147483479"/>
            <p14:sldId id="2147483480"/>
            <p14:sldId id="2147483481"/>
            <p14:sldId id="2147483482"/>
            <p14:sldId id="2147483483"/>
            <p14:sldId id="2147483484"/>
            <p14:sldId id="2147483485"/>
            <p14:sldId id="2147483486"/>
            <p14:sldId id="2147483487"/>
            <p14:sldId id="2147483504"/>
            <p14:sldId id="2147483505"/>
            <p14:sldId id="2147483508"/>
            <p14:sldId id="2147483509"/>
            <p14:sldId id="2147483510"/>
            <p14:sldId id="2147483511"/>
            <p14:sldId id="2147483506"/>
            <p14:sldId id="2147483468"/>
            <p14:sldId id="2147483469"/>
            <p14:sldId id="2147483470"/>
            <p14:sldId id="2147483471"/>
            <p14:sldId id="2147483472"/>
            <p14:sldId id="2147483507"/>
            <p14:sldId id="2147483503"/>
            <p14:sldId id="2147483491"/>
            <p14:sldId id="2147483500"/>
            <p14:sldId id="2147483492"/>
            <p14:sldId id="2147483493"/>
            <p14:sldId id="2147483494"/>
            <p14:sldId id="2147483495"/>
            <p14:sldId id="2147483501"/>
            <p14:sldId id="2147483502"/>
            <p14:sldId id="2147483496"/>
            <p14:sldId id="2147483497"/>
            <p14:sldId id="2147483513"/>
            <p14:sldId id="2147483512"/>
            <p14:sldId id="2147483514"/>
            <p14:sldId id="2147483515"/>
            <p14:sldId id="2147483516"/>
            <p14:sldId id="2147483517"/>
            <p14:sldId id="2147483518"/>
            <p14:sldId id="2147483519"/>
            <p14:sldId id="2147483520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FB41745-652E-2147-2A4A-50176497E60F}" name="Keyuna Evans (CELA)" initials="K(" userId="S::keevans@microsoft.com::653310ed-6ca1-49d8-8b9c-3ff545fb456e" providerId="AD"/>
  <p188:author id="{4EF46D45-980D-9BDC-170B-86C0E967B25D}" name="Jermey Evans (CW)" initials="JE" userId="S::c-jermey.evans@unifyconsulting.com::cd66065b-8769-42d9-96d5-f84ec8f9f654" providerId="AD"/>
  <p188:author id="{B3D9D7A0-C492-EB33-E6B4-2EBF96925583}" name="Adi Regev" initials="AR" userId="S::adiregev@microsoft.com::13f43db5-1dcf-4dcb-b869-e14646c2a1b4" providerId="AD"/>
  <p188:author id="{7A6080A2-1382-B2F3-6F26-61C055460B22}" name="Cillian Mitchell" initials="CM" userId="S::cimitchell@microsoft.com::52ba4ba3-eafd-460a-98fa-bbd73a3d9c67" providerId="AD"/>
  <p188:author id="{43959FE5-22A0-F8C5-57E3-3E90ACBC26CE}" name="Ellie Lawler" initials="EL" userId="S::ellawler@microsoft.com::05e0f727-5dad-414b-96e1-113a11acf1b4" providerId="AD"/>
  <p188:author id="{251498F4-C808-92C1-FF8C-13AD461FA6B2}" name="Tonio Lora" initials="TL" userId="S::anlo@microsoft.com::03824593-714e-4d0e-bb47-efb9476daef6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6BDAA"/>
    <a:srgbClr val="FFFDF9"/>
    <a:srgbClr val="0078D4"/>
    <a:srgbClr val="FFF8F3"/>
    <a:srgbClr val="C03BC4"/>
    <a:srgbClr val="CDC7BB"/>
    <a:srgbClr val="49C5B1"/>
    <a:srgbClr val="A84CB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A74FAB7A-DC0D-2B40-8012-5B4568CF007E}" v="92" dt="2026-01-12T17:41:06.63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154"/>
    <p:restoredTop sz="95342" autoAdjust="0"/>
  </p:normalViewPr>
  <p:slideViewPr>
    <p:cSldViewPr snapToGrid="0">
      <p:cViewPr varScale="1">
        <p:scale>
          <a:sx n="107" d="100"/>
          <a:sy n="107" d="100"/>
        </p:scale>
        <p:origin x="1384" y="4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2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slide" Target="slides/slide38.xml"/><Relationship Id="rId47" Type="http://schemas.openxmlformats.org/officeDocument/2006/relationships/slide" Target="slides/slide43.xml"/><Relationship Id="rId50" Type="http://schemas.openxmlformats.org/officeDocument/2006/relationships/slide" Target="slides/slide46.xml"/><Relationship Id="rId55" Type="http://schemas.openxmlformats.org/officeDocument/2006/relationships/slide" Target="slides/slide51.xml"/><Relationship Id="rId63" Type="http://schemas.openxmlformats.org/officeDocument/2006/relationships/theme" Target="theme/theme1.xml"/><Relationship Id="rId7" Type="http://schemas.openxmlformats.org/officeDocument/2006/relationships/slide" Target="slides/slide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9" Type="http://schemas.openxmlformats.org/officeDocument/2006/relationships/slide" Target="slides/slide25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slide" Target="slides/slide41.xml"/><Relationship Id="rId53" Type="http://schemas.openxmlformats.org/officeDocument/2006/relationships/slide" Target="slides/slide49.xml"/><Relationship Id="rId58" Type="http://schemas.openxmlformats.org/officeDocument/2006/relationships/slide" Target="slides/slide54.xml"/><Relationship Id="rId66" Type="http://schemas.microsoft.com/office/2015/10/relationships/revisionInfo" Target="revisionInfo.xml"/><Relationship Id="rId5" Type="http://schemas.openxmlformats.org/officeDocument/2006/relationships/slide" Target="slides/slide1.xml"/><Relationship Id="rId61" Type="http://schemas.openxmlformats.org/officeDocument/2006/relationships/presProps" Target="presProps.xml"/><Relationship Id="rId19" Type="http://schemas.openxmlformats.org/officeDocument/2006/relationships/slide" Target="slides/slide1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slide" Target="slides/slide39.xml"/><Relationship Id="rId48" Type="http://schemas.openxmlformats.org/officeDocument/2006/relationships/slide" Target="slides/slide44.xml"/><Relationship Id="rId56" Type="http://schemas.openxmlformats.org/officeDocument/2006/relationships/slide" Target="slides/slide52.xml"/><Relationship Id="rId64" Type="http://schemas.openxmlformats.org/officeDocument/2006/relationships/tableStyles" Target="tableStyles.xml"/><Relationship Id="rId8" Type="http://schemas.openxmlformats.org/officeDocument/2006/relationships/slide" Target="slides/slide4.xml"/><Relationship Id="rId51" Type="http://schemas.openxmlformats.org/officeDocument/2006/relationships/slide" Target="slides/slide47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slide" Target="slides/slide42.xml"/><Relationship Id="rId59" Type="http://schemas.openxmlformats.org/officeDocument/2006/relationships/notesMaster" Target="notesMasters/notesMaster1.xml"/><Relationship Id="rId67" Type="http://schemas.microsoft.com/office/2018/10/relationships/authors" Target="authors.xml"/><Relationship Id="rId20" Type="http://schemas.openxmlformats.org/officeDocument/2006/relationships/slide" Target="slides/slide16.xml"/><Relationship Id="rId41" Type="http://schemas.openxmlformats.org/officeDocument/2006/relationships/slide" Target="slides/slide37.xml"/><Relationship Id="rId54" Type="http://schemas.openxmlformats.org/officeDocument/2006/relationships/slide" Target="slides/slide50.xml"/><Relationship Id="rId62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slide" Target="slides/slide45.xml"/><Relationship Id="rId57" Type="http://schemas.openxmlformats.org/officeDocument/2006/relationships/slide" Target="slides/slide53.xml"/><Relationship Id="rId10" Type="http://schemas.openxmlformats.org/officeDocument/2006/relationships/slide" Target="slides/slide6.xml"/><Relationship Id="rId31" Type="http://schemas.openxmlformats.org/officeDocument/2006/relationships/slide" Target="slides/slide27.xml"/><Relationship Id="rId44" Type="http://schemas.openxmlformats.org/officeDocument/2006/relationships/slide" Target="slides/slide40.xml"/><Relationship Id="rId52" Type="http://schemas.openxmlformats.org/officeDocument/2006/relationships/slide" Target="slides/slide48.xml"/><Relationship Id="rId60" Type="http://schemas.openxmlformats.org/officeDocument/2006/relationships/handoutMaster" Target="handoutMasters/handoutMaster1.xml"/><Relationship Id="rId65" Type="http://schemas.microsoft.com/office/2016/11/relationships/changesInfo" Target="changesInfos/changesInfo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39" Type="http://schemas.openxmlformats.org/officeDocument/2006/relationships/slide" Target="slides/slide35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Jan Cordtz" userId="b5e592fb-fc8b-4323-a97d-691438b2e2da" providerId="ADAL" clId="{4E22EDF5-2883-5D57-B9C7-04E66950367B}"/>
    <pc:docChg chg="undo custSel addSld delSld modSld sldOrd modMainMaster modSection">
      <pc:chgData name="Jan Cordtz" userId="b5e592fb-fc8b-4323-a97d-691438b2e2da" providerId="ADAL" clId="{4E22EDF5-2883-5D57-B9C7-04E66950367B}" dt="2026-01-12T17:41:09.743" v="18899" actId="1076"/>
      <pc:docMkLst>
        <pc:docMk/>
      </pc:docMkLst>
      <pc:sldChg chg="modSp mod modClrScheme chgLayout">
        <pc:chgData name="Jan Cordtz" userId="b5e592fb-fc8b-4323-a97d-691438b2e2da" providerId="ADAL" clId="{4E22EDF5-2883-5D57-B9C7-04E66950367B}" dt="2026-01-12T15:45:15.407" v="18671" actId="700"/>
        <pc:sldMkLst>
          <pc:docMk/>
          <pc:sldMk cId="3492520798" sldId="266"/>
        </pc:sldMkLst>
        <pc:spChg chg="mod ord">
          <ac:chgData name="Jan Cordtz" userId="b5e592fb-fc8b-4323-a97d-691438b2e2da" providerId="ADAL" clId="{4E22EDF5-2883-5D57-B9C7-04E66950367B}" dt="2026-01-12T15:45:15.407" v="18671" actId="700"/>
          <ac:spMkLst>
            <pc:docMk/>
            <pc:sldMk cId="3492520798" sldId="266"/>
            <ac:spMk id="3" creationId="{D931B80B-47AB-462A-3B6D-12C2B3CA9430}"/>
          </ac:spMkLst>
        </pc:spChg>
      </pc:sldChg>
      <pc:sldChg chg="modSp mod modClrScheme chgLayout">
        <pc:chgData name="Jan Cordtz" userId="b5e592fb-fc8b-4323-a97d-691438b2e2da" providerId="ADAL" clId="{4E22EDF5-2883-5D57-B9C7-04E66950367B}" dt="2026-01-12T15:45:15.407" v="18671" actId="700"/>
        <pc:sldMkLst>
          <pc:docMk/>
          <pc:sldMk cId="4252725827" sldId="277"/>
        </pc:sldMkLst>
        <pc:spChg chg="mod ord">
          <ac:chgData name="Jan Cordtz" userId="b5e592fb-fc8b-4323-a97d-691438b2e2da" providerId="ADAL" clId="{4E22EDF5-2883-5D57-B9C7-04E66950367B}" dt="2026-01-12T15:45:15.407" v="18671" actId="700"/>
          <ac:spMkLst>
            <pc:docMk/>
            <pc:sldMk cId="4252725827" sldId="277"/>
            <ac:spMk id="2" creationId="{71E8CFDA-6856-163A-756B-07F6A1B965D3}"/>
          </ac:spMkLst>
        </pc:spChg>
      </pc:sldChg>
      <pc:sldChg chg="modSp mod modClrScheme chgLayout">
        <pc:chgData name="Jan Cordtz" userId="b5e592fb-fc8b-4323-a97d-691438b2e2da" providerId="ADAL" clId="{4E22EDF5-2883-5D57-B9C7-04E66950367B}" dt="2026-01-12T15:45:15.407" v="18671" actId="700"/>
        <pc:sldMkLst>
          <pc:docMk/>
          <pc:sldMk cId="1270669401" sldId="321"/>
        </pc:sldMkLst>
        <pc:spChg chg="mod ord">
          <ac:chgData name="Jan Cordtz" userId="b5e592fb-fc8b-4323-a97d-691438b2e2da" providerId="ADAL" clId="{4E22EDF5-2883-5D57-B9C7-04E66950367B}" dt="2026-01-12T15:45:15.407" v="18671" actId="700"/>
          <ac:spMkLst>
            <pc:docMk/>
            <pc:sldMk cId="1270669401" sldId="321"/>
            <ac:spMk id="23" creationId="{B4E38DEF-9694-0F0B-75ED-9FC3817DE18E}"/>
          </ac:spMkLst>
        </pc:spChg>
        <pc:spChg chg="mod ord">
          <ac:chgData name="Jan Cordtz" userId="b5e592fb-fc8b-4323-a97d-691438b2e2da" providerId="ADAL" clId="{4E22EDF5-2883-5D57-B9C7-04E66950367B}" dt="2026-01-12T15:45:15.407" v="18671" actId="700"/>
          <ac:spMkLst>
            <pc:docMk/>
            <pc:sldMk cId="1270669401" sldId="321"/>
            <ac:spMk id="40" creationId="{323A6375-ED23-FE89-1617-E436A5717922}"/>
          </ac:spMkLst>
        </pc:spChg>
      </pc:sldChg>
      <pc:sldChg chg="del">
        <pc:chgData name="Jan Cordtz" userId="b5e592fb-fc8b-4323-a97d-691438b2e2da" providerId="ADAL" clId="{4E22EDF5-2883-5D57-B9C7-04E66950367B}" dt="2026-01-12T13:25:15.786" v="18539" actId="2696"/>
        <pc:sldMkLst>
          <pc:docMk/>
          <pc:sldMk cId="2444983946" sldId="2103813153"/>
        </pc:sldMkLst>
      </pc:sldChg>
      <pc:sldChg chg="del">
        <pc:chgData name="Jan Cordtz" userId="b5e592fb-fc8b-4323-a97d-691438b2e2da" providerId="ADAL" clId="{4E22EDF5-2883-5D57-B9C7-04E66950367B}" dt="2026-01-12T13:25:15.786" v="18539" actId="2696"/>
        <pc:sldMkLst>
          <pc:docMk/>
          <pc:sldMk cId="2630454488" sldId="2147470170"/>
        </pc:sldMkLst>
      </pc:sldChg>
      <pc:sldChg chg="del">
        <pc:chgData name="Jan Cordtz" userId="b5e592fb-fc8b-4323-a97d-691438b2e2da" providerId="ADAL" clId="{4E22EDF5-2883-5D57-B9C7-04E66950367B}" dt="2026-01-12T13:25:15.786" v="18539" actId="2696"/>
        <pc:sldMkLst>
          <pc:docMk/>
          <pc:sldMk cId="3379519575" sldId="2147470171"/>
        </pc:sldMkLst>
      </pc:sldChg>
      <pc:sldChg chg="del">
        <pc:chgData name="Jan Cordtz" userId="b5e592fb-fc8b-4323-a97d-691438b2e2da" providerId="ADAL" clId="{4E22EDF5-2883-5D57-B9C7-04E66950367B}" dt="2026-01-12T13:25:15.786" v="18539" actId="2696"/>
        <pc:sldMkLst>
          <pc:docMk/>
          <pc:sldMk cId="2203704887" sldId="2147470172"/>
        </pc:sldMkLst>
      </pc:sldChg>
      <pc:sldChg chg="del">
        <pc:chgData name="Jan Cordtz" userId="b5e592fb-fc8b-4323-a97d-691438b2e2da" providerId="ADAL" clId="{4E22EDF5-2883-5D57-B9C7-04E66950367B}" dt="2026-01-12T13:25:15.786" v="18539" actId="2696"/>
        <pc:sldMkLst>
          <pc:docMk/>
          <pc:sldMk cId="3443777624" sldId="2147470173"/>
        </pc:sldMkLst>
      </pc:sldChg>
      <pc:sldChg chg="modSp mod modClrScheme chgLayout">
        <pc:chgData name="Jan Cordtz" userId="b5e592fb-fc8b-4323-a97d-691438b2e2da" providerId="ADAL" clId="{4E22EDF5-2883-5D57-B9C7-04E66950367B}" dt="2026-01-12T15:45:15.407" v="18671" actId="700"/>
        <pc:sldMkLst>
          <pc:docMk/>
          <pc:sldMk cId="3452717658" sldId="2147470550"/>
        </pc:sldMkLst>
        <pc:spChg chg="mod ord">
          <ac:chgData name="Jan Cordtz" userId="b5e592fb-fc8b-4323-a97d-691438b2e2da" providerId="ADAL" clId="{4E22EDF5-2883-5D57-B9C7-04E66950367B}" dt="2026-01-12T15:45:15.407" v="18671" actId="700"/>
          <ac:spMkLst>
            <pc:docMk/>
            <pc:sldMk cId="3452717658" sldId="2147470550"/>
            <ac:spMk id="5" creationId="{B01CEEE4-CEB9-4403-B4FE-E12B4C05B6D0}"/>
          </ac:spMkLst>
        </pc:spChg>
        <pc:spChg chg="mod ord">
          <ac:chgData name="Jan Cordtz" userId="b5e592fb-fc8b-4323-a97d-691438b2e2da" providerId="ADAL" clId="{4E22EDF5-2883-5D57-B9C7-04E66950367B}" dt="2026-01-12T15:45:15.407" v="18671" actId="700"/>
          <ac:spMkLst>
            <pc:docMk/>
            <pc:sldMk cId="3452717658" sldId="2147470550"/>
            <ac:spMk id="9" creationId="{2F6CF299-06B1-425A-A0AE-AE641938D6BA}"/>
          </ac:spMkLst>
        </pc:spChg>
        <pc:spChg chg="mod ord">
          <ac:chgData name="Jan Cordtz" userId="b5e592fb-fc8b-4323-a97d-691438b2e2da" providerId="ADAL" clId="{4E22EDF5-2883-5D57-B9C7-04E66950367B}" dt="2026-01-12T15:45:15.407" v="18671" actId="700"/>
          <ac:spMkLst>
            <pc:docMk/>
            <pc:sldMk cId="3452717658" sldId="2147470550"/>
            <ac:spMk id="10" creationId="{93548360-E01F-464C-804E-86BC9C05B33B}"/>
          </ac:spMkLst>
        </pc:spChg>
      </pc:sldChg>
      <pc:sldChg chg="addSp modSp mod">
        <pc:chgData name="Jan Cordtz" userId="b5e592fb-fc8b-4323-a97d-691438b2e2da" providerId="ADAL" clId="{4E22EDF5-2883-5D57-B9C7-04E66950367B}" dt="2026-01-07T15:32:51.193" v="9375" actId="1076"/>
        <pc:sldMkLst>
          <pc:docMk/>
          <pc:sldMk cId="3886619284" sldId="2147477909"/>
        </pc:sldMkLst>
        <pc:spChg chg="mod">
          <ac:chgData name="Jan Cordtz" userId="b5e592fb-fc8b-4323-a97d-691438b2e2da" providerId="ADAL" clId="{4E22EDF5-2883-5D57-B9C7-04E66950367B}" dt="2026-01-07T15:32:51.193" v="9375" actId="1076"/>
          <ac:spMkLst>
            <pc:docMk/>
            <pc:sldMk cId="3886619284" sldId="2147477909"/>
            <ac:spMk id="2" creationId="{C0FE63F7-CA11-EE0D-34D2-1201EFE93977}"/>
          </ac:spMkLst>
        </pc:spChg>
        <pc:spChg chg="add mod">
          <ac:chgData name="Jan Cordtz" userId="b5e592fb-fc8b-4323-a97d-691438b2e2da" providerId="ADAL" clId="{4E22EDF5-2883-5D57-B9C7-04E66950367B}" dt="2026-01-07T15:32:38.159" v="9374" actId="20577"/>
          <ac:spMkLst>
            <pc:docMk/>
            <pc:sldMk cId="3886619284" sldId="2147477909"/>
            <ac:spMk id="6" creationId="{CAE45D75-77AE-3079-FFC7-8EBA288E263F}"/>
          </ac:spMkLst>
        </pc:spChg>
        <pc:spChg chg="mod">
          <ac:chgData name="Jan Cordtz" userId="b5e592fb-fc8b-4323-a97d-691438b2e2da" providerId="ADAL" clId="{4E22EDF5-2883-5D57-B9C7-04E66950367B}" dt="2025-12-16T08:20:20.251" v="26" actId="1076"/>
          <ac:spMkLst>
            <pc:docMk/>
            <pc:sldMk cId="3886619284" sldId="2147477909"/>
            <ac:spMk id="37" creationId="{40CB8A5C-7978-D6DF-6BCB-6AA6077897C3}"/>
          </ac:spMkLst>
        </pc:spChg>
      </pc:sldChg>
      <pc:sldChg chg="del">
        <pc:chgData name="Jan Cordtz" userId="b5e592fb-fc8b-4323-a97d-691438b2e2da" providerId="ADAL" clId="{4E22EDF5-2883-5D57-B9C7-04E66950367B}" dt="2026-01-12T13:25:15.786" v="18539" actId="2696"/>
        <pc:sldMkLst>
          <pc:docMk/>
          <pc:sldMk cId="4267693647" sldId="2147481793"/>
        </pc:sldMkLst>
      </pc:sldChg>
      <pc:sldChg chg="addSp delSp modSp mod">
        <pc:chgData name="Jan Cordtz" userId="b5e592fb-fc8b-4323-a97d-691438b2e2da" providerId="ADAL" clId="{4E22EDF5-2883-5D57-B9C7-04E66950367B}" dt="2025-12-18T17:31:58.319" v="8806" actId="21"/>
        <pc:sldMkLst>
          <pc:docMk/>
          <pc:sldMk cId="3054078141" sldId="2147481795"/>
        </pc:sldMkLst>
        <pc:spChg chg="mod">
          <ac:chgData name="Jan Cordtz" userId="b5e592fb-fc8b-4323-a97d-691438b2e2da" providerId="ADAL" clId="{4E22EDF5-2883-5D57-B9C7-04E66950367B}" dt="2025-12-16T08:25:32.933" v="122" actId="20577"/>
          <ac:spMkLst>
            <pc:docMk/>
            <pc:sldMk cId="3054078141" sldId="2147481795"/>
            <ac:spMk id="2" creationId="{E78AB45E-08EF-B844-970F-0ABD9F73540F}"/>
          </ac:spMkLst>
        </pc:spChg>
      </pc:sldChg>
      <pc:sldChg chg="del">
        <pc:chgData name="Jan Cordtz" userId="b5e592fb-fc8b-4323-a97d-691438b2e2da" providerId="ADAL" clId="{4E22EDF5-2883-5D57-B9C7-04E66950367B}" dt="2026-01-12T13:25:15.786" v="18539" actId="2696"/>
        <pc:sldMkLst>
          <pc:docMk/>
          <pc:sldMk cId="3988723040" sldId="2147481797"/>
        </pc:sldMkLst>
      </pc:sldChg>
      <pc:sldChg chg="del">
        <pc:chgData name="Jan Cordtz" userId="b5e592fb-fc8b-4323-a97d-691438b2e2da" providerId="ADAL" clId="{4E22EDF5-2883-5D57-B9C7-04E66950367B}" dt="2026-01-12T13:25:15.786" v="18539" actId="2696"/>
        <pc:sldMkLst>
          <pc:docMk/>
          <pc:sldMk cId="2070820642" sldId="2147481798"/>
        </pc:sldMkLst>
      </pc:sldChg>
      <pc:sldChg chg="del">
        <pc:chgData name="Jan Cordtz" userId="b5e592fb-fc8b-4323-a97d-691438b2e2da" providerId="ADAL" clId="{4E22EDF5-2883-5D57-B9C7-04E66950367B}" dt="2026-01-12T13:25:15.786" v="18539" actId="2696"/>
        <pc:sldMkLst>
          <pc:docMk/>
          <pc:sldMk cId="3303284261" sldId="2147481799"/>
        </pc:sldMkLst>
      </pc:sldChg>
      <pc:sldChg chg="del">
        <pc:chgData name="Jan Cordtz" userId="b5e592fb-fc8b-4323-a97d-691438b2e2da" providerId="ADAL" clId="{4E22EDF5-2883-5D57-B9C7-04E66950367B}" dt="2026-01-12T13:25:15.786" v="18539" actId="2696"/>
        <pc:sldMkLst>
          <pc:docMk/>
          <pc:sldMk cId="2350981369" sldId="2147481800"/>
        </pc:sldMkLst>
      </pc:sldChg>
      <pc:sldChg chg="del">
        <pc:chgData name="Jan Cordtz" userId="b5e592fb-fc8b-4323-a97d-691438b2e2da" providerId="ADAL" clId="{4E22EDF5-2883-5D57-B9C7-04E66950367B}" dt="2026-01-12T13:25:15.786" v="18539" actId="2696"/>
        <pc:sldMkLst>
          <pc:docMk/>
          <pc:sldMk cId="1024196789" sldId="2147481801"/>
        </pc:sldMkLst>
      </pc:sldChg>
      <pc:sldChg chg="del">
        <pc:chgData name="Jan Cordtz" userId="b5e592fb-fc8b-4323-a97d-691438b2e2da" providerId="ADAL" clId="{4E22EDF5-2883-5D57-B9C7-04E66950367B}" dt="2026-01-12T13:25:15.786" v="18539" actId="2696"/>
        <pc:sldMkLst>
          <pc:docMk/>
          <pc:sldMk cId="3372168558" sldId="2147481802"/>
        </pc:sldMkLst>
      </pc:sldChg>
      <pc:sldChg chg="del">
        <pc:chgData name="Jan Cordtz" userId="b5e592fb-fc8b-4323-a97d-691438b2e2da" providerId="ADAL" clId="{4E22EDF5-2883-5D57-B9C7-04E66950367B}" dt="2026-01-12T13:25:15.786" v="18539" actId="2696"/>
        <pc:sldMkLst>
          <pc:docMk/>
          <pc:sldMk cId="2383940711" sldId="2147481803"/>
        </pc:sldMkLst>
      </pc:sldChg>
      <pc:sldChg chg="del">
        <pc:chgData name="Jan Cordtz" userId="b5e592fb-fc8b-4323-a97d-691438b2e2da" providerId="ADAL" clId="{4E22EDF5-2883-5D57-B9C7-04E66950367B}" dt="2026-01-12T13:25:15.786" v="18539" actId="2696"/>
        <pc:sldMkLst>
          <pc:docMk/>
          <pc:sldMk cId="587040167" sldId="2147481804"/>
        </pc:sldMkLst>
      </pc:sldChg>
      <pc:sldChg chg="addSp modSp mod modClrScheme chgLayout">
        <pc:chgData name="Jan Cordtz" userId="b5e592fb-fc8b-4323-a97d-691438b2e2da" providerId="ADAL" clId="{4E22EDF5-2883-5D57-B9C7-04E66950367B}" dt="2026-01-12T15:45:15.407" v="18671" actId="700"/>
        <pc:sldMkLst>
          <pc:docMk/>
          <pc:sldMk cId="229052225" sldId="2147482673"/>
        </pc:sldMkLst>
        <pc:spChg chg="mod ord">
          <ac:chgData name="Jan Cordtz" userId="b5e592fb-fc8b-4323-a97d-691438b2e2da" providerId="ADAL" clId="{4E22EDF5-2883-5D57-B9C7-04E66950367B}" dt="2026-01-12T15:45:15.407" v="18671" actId="700"/>
          <ac:spMkLst>
            <pc:docMk/>
            <pc:sldMk cId="229052225" sldId="2147482673"/>
            <ac:spMk id="17" creationId="{DC9591C5-4462-45E5-453C-8CD37EC9D71C}"/>
          </ac:spMkLst>
        </pc:spChg>
      </pc:sldChg>
      <pc:sldChg chg="modSp mod modClrScheme chgLayout">
        <pc:chgData name="Jan Cordtz" userId="b5e592fb-fc8b-4323-a97d-691438b2e2da" providerId="ADAL" clId="{4E22EDF5-2883-5D57-B9C7-04E66950367B}" dt="2026-01-12T15:45:15.407" v="18671" actId="700"/>
        <pc:sldMkLst>
          <pc:docMk/>
          <pc:sldMk cId="0" sldId="2147483429"/>
        </pc:sldMkLst>
        <pc:spChg chg="mod ord">
          <ac:chgData name="Jan Cordtz" userId="b5e592fb-fc8b-4323-a97d-691438b2e2da" providerId="ADAL" clId="{4E22EDF5-2883-5D57-B9C7-04E66950367B}" dt="2026-01-12T15:45:15.407" v="18671" actId="700"/>
          <ac:spMkLst>
            <pc:docMk/>
            <pc:sldMk cId="0" sldId="2147483429"/>
            <ac:spMk id="8" creationId="{A2245FE4-C2A4-66EF-BEBC-A714BEAE5E7F}"/>
          </ac:spMkLst>
        </pc:spChg>
      </pc:sldChg>
      <pc:sldChg chg="del">
        <pc:chgData name="Jan Cordtz" userId="b5e592fb-fc8b-4323-a97d-691438b2e2da" providerId="ADAL" clId="{4E22EDF5-2883-5D57-B9C7-04E66950367B}" dt="2026-01-12T13:25:15.786" v="18539" actId="2696"/>
        <pc:sldMkLst>
          <pc:docMk/>
          <pc:sldMk cId="2346259207" sldId="2147483430"/>
        </pc:sldMkLst>
      </pc:sldChg>
      <pc:sldChg chg="del">
        <pc:chgData name="Jan Cordtz" userId="b5e592fb-fc8b-4323-a97d-691438b2e2da" providerId="ADAL" clId="{4E22EDF5-2883-5D57-B9C7-04E66950367B}" dt="2026-01-12T13:25:15.786" v="18539" actId="2696"/>
        <pc:sldMkLst>
          <pc:docMk/>
          <pc:sldMk cId="159772167" sldId="2147483432"/>
        </pc:sldMkLst>
      </pc:sldChg>
      <pc:sldChg chg="del">
        <pc:chgData name="Jan Cordtz" userId="b5e592fb-fc8b-4323-a97d-691438b2e2da" providerId="ADAL" clId="{4E22EDF5-2883-5D57-B9C7-04E66950367B}" dt="2026-01-12T13:25:15.786" v="18539" actId="2696"/>
        <pc:sldMkLst>
          <pc:docMk/>
          <pc:sldMk cId="1482266441" sldId="2147483433"/>
        </pc:sldMkLst>
      </pc:sldChg>
      <pc:sldChg chg="del">
        <pc:chgData name="Jan Cordtz" userId="b5e592fb-fc8b-4323-a97d-691438b2e2da" providerId="ADAL" clId="{4E22EDF5-2883-5D57-B9C7-04E66950367B}" dt="2026-01-12T13:25:15.786" v="18539" actId="2696"/>
        <pc:sldMkLst>
          <pc:docMk/>
          <pc:sldMk cId="2802115458" sldId="2147483434"/>
        </pc:sldMkLst>
      </pc:sldChg>
      <pc:sldChg chg="del">
        <pc:chgData name="Jan Cordtz" userId="b5e592fb-fc8b-4323-a97d-691438b2e2da" providerId="ADAL" clId="{4E22EDF5-2883-5D57-B9C7-04E66950367B}" dt="2026-01-12T13:25:15.786" v="18539" actId="2696"/>
        <pc:sldMkLst>
          <pc:docMk/>
          <pc:sldMk cId="1415204434" sldId="2147483435"/>
        </pc:sldMkLst>
      </pc:sldChg>
      <pc:sldChg chg="del">
        <pc:chgData name="Jan Cordtz" userId="b5e592fb-fc8b-4323-a97d-691438b2e2da" providerId="ADAL" clId="{4E22EDF5-2883-5D57-B9C7-04E66950367B}" dt="2026-01-12T13:25:15.786" v="18539" actId="2696"/>
        <pc:sldMkLst>
          <pc:docMk/>
          <pc:sldMk cId="3578292128" sldId="2147483436"/>
        </pc:sldMkLst>
      </pc:sldChg>
      <pc:sldChg chg="del">
        <pc:chgData name="Jan Cordtz" userId="b5e592fb-fc8b-4323-a97d-691438b2e2da" providerId="ADAL" clId="{4E22EDF5-2883-5D57-B9C7-04E66950367B}" dt="2026-01-12T13:25:15.786" v="18539" actId="2696"/>
        <pc:sldMkLst>
          <pc:docMk/>
          <pc:sldMk cId="1888142055" sldId="2147483437"/>
        </pc:sldMkLst>
      </pc:sldChg>
      <pc:sldChg chg="del">
        <pc:chgData name="Jan Cordtz" userId="b5e592fb-fc8b-4323-a97d-691438b2e2da" providerId="ADAL" clId="{4E22EDF5-2883-5D57-B9C7-04E66950367B}" dt="2026-01-12T13:25:15.786" v="18539" actId="2696"/>
        <pc:sldMkLst>
          <pc:docMk/>
          <pc:sldMk cId="923348180" sldId="2147483438"/>
        </pc:sldMkLst>
      </pc:sldChg>
      <pc:sldChg chg="del">
        <pc:chgData name="Jan Cordtz" userId="b5e592fb-fc8b-4323-a97d-691438b2e2da" providerId="ADAL" clId="{4E22EDF5-2883-5D57-B9C7-04E66950367B}" dt="2026-01-12T13:25:15.786" v="18539" actId="2696"/>
        <pc:sldMkLst>
          <pc:docMk/>
          <pc:sldMk cId="2698369429" sldId="2147483439"/>
        </pc:sldMkLst>
      </pc:sldChg>
      <pc:sldChg chg="del">
        <pc:chgData name="Jan Cordtz" userId="b5e592fb-fc8b-4323-a97d-691438b2e2da" providerId="ADAL" clId="{4E22EDF5-2883-5D57-B9C7-04E66950367B}" dt="2026-01-12T13:25:15.786" v="18539" actId="2696"/>
        <pc:sldMkLst>
          <pc:docMk/>
          <pc:sldMk cId="4221385806" sldId="2147483440"/>
        </pc:sldMkLst>
      </pc:sldChg>
      <pc:sldChg chg="del">
        <pc:chgData name="Jan Cordtz" userId="b5e592fb-fc8b-4323-a97d-691438b2e2da" providerId="ADAL" clId="{4E22EDF5-2883-5D57-B9C7-04E66950367B}" dt="2026-01-12T13:25:15.786" v="18539" actId="2696"/>
        <pc:sldMkLst>
          <pc:docMk/>
          <pc:sldMk cId="1182636176" sldId="2147483441"/>
        </pc:sldMkLst>
      </pc:sldChg>
      <pc:sldChg chg="del">
        <pc:chgData name="Jan Cordtz" userId="b5e592fb-fc8b-4323-a97d-691438b2e2da" providerId="ADAL" clId="{4E22EDF5-2883-5D57-B9C7-04E66950367B}" dt="2026-01-12T13:25:15.786" v="18539" actId="2696"/>
        <pc:sldMkLst>
          <pc:docMk/>
          <pc:sldMk cId="2856220311" sldId="2147483442"/>
        </pc:sldMkLst>
      </pc:sldChg>
      <pc:sldChg chg="del">
        <pc:chgData name="Jan Cordtz" userId="b5e592fb-fc8b-4323-a97d-691438b2e2da" providerId="ADAL" clId="{4E22EDF5-2883-5D57-B9C7-04E66950367B}" dt="2026-01-12T13:25:15.786" v="18539" actId="2696"/>
        <pc:sldMkLst>
          <pc:docMk/>
          <pc:sldMk cId="976601498" sldId="2147483443"/>
        </pc:sldMkLst>
      </pc:sldChg>
      <pc:sldChg chg="del">
        <pc:chgData name="Jan Cordtz" userId="b5e592fb-fc8b-4323-a97d-691438b2e2da" providerId="ADAL" clId="{4E22EDF5-2883-5D57-B9C7-04E66950367B}" dt="2026-01-12T13:25:15.786" v="18539" actId="2696"/>
        <pc:sldMkLst>
          <pc:docMk/>
          <pc:sldMk cId="330976912" sldId="2147483444"/>
        </pc:sldMkLst>
      </pc:sldChg>
      <pc:sldChg chg="addSp modSp add mod modClrScheme chgLayout">
        <pc:chgData name="Jan Cordtz" userId="b5e592fb-fc8b-4323-a97d-691438b2e2da" providerId="ADAL" clId="{4E22EDF5-2883-5D57-B9C7-04E66950367B}" dt="2026-01-12T15:45:22.379" v="18672" actId="700"/>
        <pc:sldMkLst>
          <pc:docMk/>
          <pc:sldMk cId="793374601" sldId="2147483445"/>
        </pc:sldMkLst>
        <pc:spChg chg="mod">
          <ac:chgData name="Jan Cordtz" userId="b5e592fb-fc8b-4323-a97d-691438b2e2da" providerId="ADAL" clId="{4E22EDF5-2883-5D57-B9C7-04E66950367B}" dt="2026-01-07T15:46:00.630" v="9743" actId="115"/>
          <ac:spMkLst>
            <pc:docMk/>
            <pc:sldMk cId="793374601" sldId="2147483445"/>
            <ac:spMk id="3" creationId="{AAEDCD3A-3026-2C14-E443-A2F5D398E477}"/>
          </ac:spMkLst>
        </pc:spChg>
        <pc:spChg chg="mod">
          <ac:chgData name="Jan Cordtz" userId="b5e592fb-fc8b-4323-a97d-691438b2e2da" providerId="ADAL" clId="{4E22EDF5-2883-5D57-B9C7-04E66950367B}" dt="2025-12-18T17:30:06.722" v="8765" actId="1076"/>
          <ac:spMkLst>
            <pc:docMk/>
            <pc:sldMk cId="793374601" sldId="2147483445"/>
            <ac:spMk id="5" creationId="{2757BD0E-6046-498C-00AB-DECFABF21107}"/>
          </ac:spMkLst>
        </pc:spChg>
        <pc:spChg chg="add mod">
          <ac:chgData name="Jan Cordtz" userId="b5e592fb-fc8b-4323-a97d-691438b2e2da" providerId="ADAL" clId="{4E22EDF5-2883-5D57-B9C7-04E66950367B}" dt="2025-12-18T17:31:07.678" v="8790" actId="207"/>
          <ac:spMkLst>
            <pc:docMk/>
            <pc:sldMk cId="793374601" sldId="2147483445"/>
            <ac:spMk id="6" creationId="{0520237A-5E3A-D22C-DBCA-2373B7D4E0EF}"/>
          </ac:spMkLst>
        </pc:spChg>
        <pc:spChg chg="mod">
          <ac:chgData name="Jan Cordtz" userId="b5e592fb-fc8b-4323-a97d-691438b2e2da" providerId="ADAL" clId="{4E22EDF5-2883-5D57-B9C7-04E66950367B}" dt="2025-12-18T17:30:06.722" v="8765" actId="1076"/>
          <ac:spMkLst>
            <pc:docMk/>
            <pc:sldMk cId="793374601" sldId="2147483445"/>
            <ac:spMk id="7" creationId="{03D14DD5-1818-DC01-17AE-ABF37E6526C5}"/>
          </ac:spMkLst>
        </pc:spChg>
        <pc:spChg chg="add mod">
          <ac:chgData name="Jan Cordtz" userId="b5e592fb-fc8b-4323-a97d-691438b2e2da" providerId="ADAL" clId="{4E22EDF5-2883-5D57-B9C7-04E66950367B}" dt="2025-12-18T17:31:13.066" v="8791" actId="207"/>
          <ac:spMkLst>
            <pc:docMk/>
            <pc:sldMk cId="793374601" sldId="2147483445"/>
            <ac:spMk id="13" creationId="{11155FCA-3E6F-4E4E-A836-B3A5F2AB7D09}"/>
          </ac:spMkLst>
        </pc:spChg>
        <pc:spChg chg="mod">
          <ac:chgData name="Jan Cordtz" userId="b5e592fb-fc8b-4323-a97d-691438b2e2da" providerId="ADAL" clId="{4E22EDF5-2883-5D57-B9C7-04E66950367B}" dt="2025-12-18T17:30:06.722" v="8765" actId="1076"/>
          <ac:spMkLst>
            <pc:docMk/>
            <pc:sldMk cId="793374601" sldId="2147483445"/>
            <ac:spMk id="14" creationId="{1C0AAEAB-E2E8-8945-D08F-511BFE6B6D72}"/>
          </ac:spMkLst>
        </pc:spChg>
        <pc:spChg chg="mod">
          <ac:chgData name="Jan Cordtz" userId="b5e592fb-fc8b-4323-a97d-691438b2e2da" providerId="ADAL" clId="{4E22EDF5-2883-5D57-B9C7-04E66950367B}" dt="2026-01-07T15:45:55.431" v="9742" actId="115"/>
          <ac:spMkLst>
            <pc:docMk/>
            <pc:sldMk cId="793374601" sldId="2147483445"/>
            <ac:spMk id="18" creationId="{30D0A6CB-59AB-74E8-0002-49F1009ECE10}"/>
          </ac:spMkLst>
        </pc:spChg>
        <pc:spChg chg="mod">
          <ac:chgData name="Jan Cordtz" userId="b5e592fb-fc8b-4323-a97d-691438b2e2da" providerId="ADAL" clId="{4E22EDF5-2883-5D57-B9C7-04E66950367B}" dt="2025-12-18T17:30:06.722" v="8765" actId="1076"/>
          <ac:spMkLst>
            <pc:docMk/>
            <pc:sldMk cId="793374601" sldId="2147483445"/>
            <ac:spMk id="19" creationId="{4B7DFA29-CDB8-269A-A23C-FC17A1FB2E2B}"/>
          </ac:spMkLst>
        </pc:spChg>
        <pc:spChg chg="mod">
          <ac:chgData name="Jan Cordtz" userId="b5e592fb-fc8b-4323-a97d-691438b2e2da" providerId="ADAL" clId="{4E22EDF5-2883-5D57-B9C7-04E66950367B}" dt="2025-12-18T17:30:06.722" v="8765" actId="1076"/>
          <ac:spMkLst>
            <pc:docMk/>
            <pc:sldMk cId="793374601" sldId="2147483445"/>
            <ac:spMk id="21" creationId="{AFA5368D-4492-30C0-2E8E-D0C86FAFA2BA}"/>
          </ac:spMkLst>
        </pc:spChg>
        <pc:spChg chg="mod">
          <ac:chgData name="Jan Cordtz" userId="b5e592fb-fc8b-4323-a97d-691438b2e2da" providerId="ADAL" clId="{4E22EDF5-2883-5D57-B9C7-04E66950367B}" dt="2025-12-18T17:30:06.722" v="8765" actId="1076"/>
          <ac:spMkLst>
            <pc:docMk/>
            <pc:sldMk cId="793374601" sldId="2147483445"/>
            <ac:spMk id="25" creationId="{D5C0A37A-E1BA-5B93-4E9E-998F27F3633C}"/>
          </ac:spMkLst>
        </pc:spChg>
        <pc:spChg chg="mod">
          <ac:chgData name="Jan Cordtz" userId="b5e592fb-fc8b-4323-a97d-691438b2e2da" providerId="ADAL" clId="{4E22EDF5-2883-5D57-B9C7-04E66950367B}" dt="2025-12-18T17:30:06.722" v="8765" actId="1076"/>
          <ac:spMkLst>
            <pc:docMk/>
            <pc:sldMk cId="793374601" sldId="2147483445"/>
            <ac:spMk id="26" creationId="{0AF0949D-FDDD-BB2F-5DFE-3F22CC9E4BC2}"/>
          </ac:spMkLst>
        </pc:spChg>
        <pc:spChg chg="mod">
          <ac:chgData name="Jan Cordtz" userId="b5e592fb-fc8b-4323-a97d-691438b2e2da" providerId="ADAL" clId="{4E22EDF5-2883-5D57-B9C7-04E66950367B}" dt="2025-12-18T17:30:06.722" v="8765" actId="1076"/>
          <ac:spMkLst>
            <pc:docMk/>
            <pc:sldMk cId="793374601" sldId="2147483445"/>
            <ac:spMk id="27" creationId="{036C2D18-8C7D-949B-5A6C-6C69A4B43310}"/>
          </ac:spMkLst>
        </pc:spChg>
        <pc:spChg chg="mod">
          <ac:chgData name="Jan Cordtz" userId="b5e592fb-fc8b-4323-a97d-691438b2e2da" providerId="ADAL" clId="{4E22EDF5-2883-5D57-B9C7-04E66950367B}" dt="2025-12-18T17:30:06.722" v="8765" actId="1076"/>
          <ac:spMkLst>
            <pc:docMk/>
            <pc:sldMk cId="793374601" sldId="2147483445"/>
            <ac:spMk id="28" creationId="{17FAB29D-881E-F9C1-712E-EFFA0A84AFAE}"/>
          </ac:spMkLst>
        </pc:spChg>
        <pc:cxnChg chg="add mod">
          <ac:chgData name="Jan Cordtz" userId="b5e592fb-fc8b-4323-a97d-691438b2e2da" providerId="ADAL" clId="{4E22EDF5-2883-5D57-B9C7-04E66950367B}" dt="2026-01-07T15:47:03.110" v="9749" actId="692"/>
          <ac:cxnSpMkLst>
            <pc:docMk/>
            <pc:sldMk cId="793374601" sldId="2147483445"/>
            <ac:cxnSpMk id="22" creationId="{671B53FC-A64E-A070-367B-A4FC1572251B}"/>
          </ac:cxnSpMkLst>
        </pc:cxnChg>
      </pc:sldChg>
      <pc:sldChg chg="del">
        <pc:chgData name="Jan Cordtz" userId="b5e592fb-fc8b-4323-a97d-691438b2e2da" providerId="ADAL" clId="{4E22EDF5-2883-5D57-B9C7-04E66950367B}" dt="2026-01-12T13:25:15.786" v="18539" actId="2696"/>
        <pc:sldMkLst>
          <pc:docMk/>
          <pc:sldMk cId="827862722" sldId="2147483446"/>
        </pc:sldMkLst>
      </pc:sldChg>
      <pc:sldChg chg="del">
        <pc:chgData name="Jan Cordtz" userId="b5e592fb-fc8b-4323-a97d-691438b2e2da" providerId="ADAL" clId="{4E22EDF5-2883-5D57-B9C7-04E66950367B}" dt="2026-01-12T13:25:15.786" v="18539" actId="2696"/>
        <pc:sldMkLst>
          <pc:docMk/>
          <pc:sldMk cId="4065132157" sldId="2147483447"/>
        </pc:sldMkLst>
      </pc:sldChg>
      <pc:sldChg chg="modSp add del mod">
        <pc:chgData name="Jan Cordtz" userId="b5e592fb-fc8b-4323-a97d-691438b2e2da" providerId="ADAL" clId="{4E22EDF5-2883-5D57-B9C7-04E66950367B}" dt="2026-01-12T13:25:15.786" v="18539" actId="2696"/>
        <pc:sldMkLst>
          <pc:docMk/>
          <pc:sldMk cId="3090392406" sldId="2147483449"/>
        </pc:sldMkLst>
      </pc:sldChg>
      <pc:sldChg chg="addSp modSp new mod modClrScheme chgLayout">
        <pc:chgData name="Jan Cordtz" userId="b5e592fb-fc8b-4323-a97d-691438b2e2da" providerId="ADAL" clId="{4E22EDF5-2883-5D57-B9C7-04E66950367B}" dt="2026-01-12T15:45:33.278" v="18673" actId="700"/>
        <pc:sldMkLst>
          <pc:docMk/>
          <pc:sldMk cId="2332959284" sldId="2147483450"/>
        </pc:sldMkLst>
        <pc:spChg chg="add mod">
          <ac:chgData name="Jan Cordtz" userId="b5e592fb-fc8b-4323-a97d-691438b2e2da" providerId="ADAL" clId="{4E22EDF5-2883-5D57-B9C7-04E66950367B}" dt="2025-12-16T11:49:55.183" v="2405" actId="207"/>
          <ac:spMkLst>
            <pc:docMk/>
            <pc:sldMk cId="2332959284" sldId="2147483450"/>
            <ac:spMk id="2" creationId="{9932C949-C994-6DBE-2FA7-A6C824089FE9}"/>
          </ac:spMkLst>
        </pc:spChg>
        <pc:spChg chg="add mod">
          <ac:chgData name="Jan Cordtz" userId="b5e592fb-fc8b-4323-a97d-691438b2e2da" providerId="ADAL" clId="{4E22EDF5-2883-5D57-B9C7-04E66950367B}" dt="2025-12-16T08:27:14.495" v="300" actId="20577"/>
          <ac:spMkLst>
            <pc:docMk/>
            <pc:sldMk cId="2332959284" sldId="2147483450"/>
            <ac:spMk id="3" creationId="{522800DA-8733-C81B-FD08-9E14079E6DB3}"/>
          </ac:spMkLst>
        </pc:spChg>
        <pc:spChg chg="add mod">
          <ac:chgData name="Jan Cordtz" userId="b5e592fb-fc8b-4323-a97d-691438b2e2da" providerId="ADAL" clId="{4E22EDF5-2883-5D57-B9C7-04E66950367B}" dt="2025-12-18T17:32:00.616" v="8807"/>
          <ac:spMkLst>
            <pc:docMk/>
            <pc:sldMk cId="2332959284" sldId="2147483450"/>
            <ac:spMk id="4" creationId="{798431B4-71D5-9CB8-AE8C-E4A4639D47F1}"/>
          </ac:spMkLst>
        </pc:spChg>
      </pc:sldChg>
      <pc:sldChg chg="addSp delSp modSp new mod modClrScheme chgLayout">
        <pc:chgData name="Jan Cordtz" userId="b5e592fb-fc8b-4323-a97d-691438b2e2da" providerId="ADAL" clId="{4E22EDF5-2883-5D57-B9C7-04E66950367B}" dt="2026-01-12T15:45:33.278" v="18673" actId="700"/>
        <pc:sldMkLst>
          <pc:docMk/>
          <pc:sldMk cId="3764181936" sldId="2147483451"/>
        </pc:sldMkLst>
        <pc:spChg chg="add mod">
          <ac:chgData name="Jan Cordtz" userId="b5e592fb-fc8b-4323-a97d-691438b2e2da" providerId="ADAL" clId="{4E22EDF5-2883-5D57-B9C7-04E66950367B}" dt="2026-01-05T10:21:33.009" v="9048" actId="20577"/>
          <ac:spMkLst>
            <pc:docMk/>
            <pc:sldMk cId="3764181936" sldId="2147483451"/>
            <ac:spMk id="2" creationId="{7ECB67E2-23D6-5C42-9257-5E27C7908B9C}"/>
          </ac:spMkLst>
        </pc:spChg>
        <pc:spChg chg="add mod">
          <ac:chgData name="Jan Cordtz" userId="b5e592fb-fc8b-4323-a97d-691438b2e2da" providerId="ADAL" clId="{4E22EDF5-2883-5D57-B9C7-04E66950367B}" dt="2025-12-18T17:32:03.266" v="8808"/>
          <ac:spMkLst>
            <pc:docMk/>
            <pc:sldMk cId="3764181936" sldId="2147483451"/>
            <ac:spMk id="3" creationId="{AA0DF8F0-F7E2-2ADB-8D64-845E37356366}"/>
          </ac:spMkLst>
        </pc:spChg>
      </pc:sldChg>
      <pc:sldChg chg="addSp delSp modSp add mod modClrScheme chgLayout">
        <pc:chgData name="Jan Cordtz" userId="b5e592fb-fc8b-4323-a97d-691438b2e2da" providerId="ADAL" clId="{4E22EDF5-2883-5D57-B9C7-04E66950367B}" dt="2026-01-12T15:45:33.278" v="18673" actId="700"/>
        <pc:sldMkLst>
          <pc:docMk/>
          <pc:sldMk cId="70633541" sldId="2147483452"/>
        </pc:sldMkLst>
        <pc:spChg chg="mod">
          <ac:chgData name="Jan Cordtz" userId="b5e592fb-fc8b-4323-a97d-691438b2e2da" providerId="ADAL" clId="{4E22EDF5-2883-5D57-B9C7-04E66950367B}" dt="2025-12-16T09:59:43.822" v="2389" actId="207"/>
          <ac:spMkLst>
            <pc:docMk/>
            <pc:sldMk cId="70633541" sldId="2147483452"/>
            <ac:spMk id="2" creationId="{E941A3A0-94E6-CC82-035F-218223385A30}"/>
          </ac:spMkLst>
        </pc:spChg>
        <pc:spChg chg="add mod">
          <ac:chgData name="Jan Cordtz" userId="b5e592fb-fc8b-4323-a97d-691438b2e2da" providerId="ADAL" clId="{4E22EDF5-2883-5D57-B9C7-04E66950367B}" dt="2025-12-18T17:32:06.028" v="8810"/>
          <ac:spMkLst>
            <pc:docMk/>
            <pc:sldMk cId="70633541" sldId="2147483452"/>
            <ac:spMk id="3" creationId="{BEE4C067-1D0E-5126-7C91-523C0941AF28}"/>
          </ac:spMkLst>
        </pc:spChg>
        <pc:spChg chg="add mod">
          <ac:chgData name="Jan Cordtz" userId="b5e592fb-fc8b-4323-a97d-691438b2e2da" providerId="ADAL" clId="{4E22EDF5-2883-5D57-B9C7-04E66950367B}" dt="2026-01-07T15:45:30.034" v="9739" actId="692"/>
          <ac:spMkLst>
            <pc:docMk/>
            <pc:sldMk cId="70633541" sldId="2147483452"/>
            <ac:spMk id="7" creationId="{265EE934-0CEE-14C9-8C73-595FCE7FE0AD}"/>
          </ac:spMkLst>
        </pc:spChg>
        <pc:spChg chg="add mod">
          <ac:chgData name="Jan Cordtz" userId="b5e592fb-fc8b-4323-a97d-691438b2e2da" providerId="ADAL" clId="{4E22EDF5-2883-5D57-B9C7-04E66950367B}" dt="2026-01-07T15:45:26.103" v="9738" actId="692"/>
          <ac:spMkLst>
            <pc:docMk/>
            <pc:sldMk cId="70633541" sldId="2147483452"/>
            <ac:spMk id="8" creationId="{DBAF8D72-F486-D6D1-851B-B5FC65D1C354}"/>
          </ac:spMkLst>
        </pc:spChg>
        <pc:picChg chg="add mod">
          <ac:chgData name="Jan Cordtz" userId="b5e592fb-fc8b-4323-a97d-691438b2e2da" providerId="ADAL" clId="{4E22EDF5-2883-5D57-B9C7-04E66950367B}" dt="2025-12-16T08:39:20.162" v="1005" actId="1076"/>
          <ac:picMkLst>
            <pc:docMk/>
            <pc:sldMk cId="70633541" sldId="2147483452"/>
            <ac:picMk id="6" creationId="{9A2CA1C9-1AAA-E521-B4B2-945CFF2F5319}"/>
          </ac:picMkLst>
        </pc:picChg>
      </pc:sldChg>
      <pc:sldChg chg="addSp delSp modSp add mod modClrScheme chgLayout">
        <pc:chgData name="Jan Cordtz" userId="b5e592fb-fc8b-4323-a97d-691438b2e2da" providerId="ADAL" clId="{4E22EDF5-2883-5D57-B9C7-04E66950367B}" dt="2026-01-12T15:45:33.278" v="18673" actId="700"/>
        <pc:sldMkLst>
          <pc:docMk/>
          <pc:sldMk cId="3814116829" sldId="2147483453"/>
        </pc:sldMkLst>
        <pc:spChg chg="add mod">
          <ac:chgData name="Jan Cordtz" userId="b5e592fb-fc8b-4323-a97d-691438b2e2da" providerId="ADAL" clId="{4E22EDF5-2883-5D57-B9C7-04E66950367B}" dt="2025-12-18T17:32:07.114" v="8811"/>
          <ac:spMkLst>
            <pc:docMk/>
            <pc:sldMk cId="3814116829" sldId="2147483453"/>
            <ac:spMk id="2" creationId="{BCB186FE-7B26-B139-5551-ACC6355588DA}"/>
          </ac:spMkLst>
        </pc:spChg>
        <pc:spChg chg="mod">
          <ac:chgData name="Jan Cordtz" userId="b5e592fb-fc8b-4323-a97d-691438b2e2da" providerId="ADAL" clId="{4E22EDF5-2883-5D57-B9C7-04E66950367B}" dt="2025-12-16T09:59:35.728" v="2388" actId="207"/>
          <ac:spMkLst>
            <pc:docMk/>
            <pc:sldMk cId="3814116829" sldId="2147483453"/>
            <ac:spMk id="3" creationId="{5CB71EE9-826E-9BEE-5DB6-5E6F4619895B}"/>
          </ac:spMkLst>
        </pc:spChg>
        <pc:spChg chg="mod">
          <ac:chgData name="Jan Cordtz" userId="b5e592fb-fc8b-4323-a97d-691438b2e2da" providerId="ADAL" clId="{4E22EDF5-2883-5D57-B9C7-04E66950367B}" dt="2025-12-16T12:27:39.584" v="3620" actId="207"/>
          <ac:spMkLst>
            <pc:docMk/>
            <pc:sldMk cId="3814116829" sldId="2147483453"/>
            <ac:spMk id="5" creationId="{6472A02F-0081-187E-9342-8131479E7CDF}"/>
          </ac:spMkLst>
        </pc:spChg>
        <pc:picChg chg="add mod">
          <ac:chgData name="Jan Cordtz" userId="b5e592fb-fc8b-4323-a97d-691438b2e2da" providerId="ADAL" clId="{4E22EDF5-2883-5D57-B9C7-04E66950367B}" dt="2025-12-16T08:40:52.729" v="1015" actId="166"/>
          <ac:picMkLst>
            <pc:docMk/>
            <pc:sldMk cId="3814116829" sldId="2147483453"/>
            <ac:picMk id="4" creationId="{445A6EC7-B34D-EFDB-D4B6-5FD974E1CD9D}"/>
          </ac:picMkLst>
        </pc:picChg>
        <pc:cxnChg chg="add mod">
          <ac:chgData name="Jan Cordtz" userId="b5e592fb-fc8b-4323-a97d-691438b2e2da" providerId="ADAL" clId="{4E22EDF5-2883-5D57-B9C7-04E66950367B}" dt="2026-01-07T15:44:59" v="9735" actId="692"/>
          <ac:cxnSpMkLst>
            <pc:docMk/>
            <pc:sldMk cId="3814116829" sldId="2147483453"/>
            <ac:cxnSpMk id="8" creationId="{B41AA686-1C5B-C295-240A-E29785287F00}"/>
          </ac:cxnSpMkLst>
        </pc:cxnChg>
        <pc:cxnChg chg="add mod">
          <ac:chgData name="Jan Cordtz" userId="b5e592fb-fc8b-4323-a97d-691438b2e2da" providerId="ADAL" clId="{4E22EDF5-2883-5D57-B9C7-04E66950367B}" dt="2026-01-07T15:44:59" v="9735" actId="692"/>
          <ac:cxnSpMkLst>
            <pc:docMk/>
            <pc:sldMk cId="3814116829" sldId="2147483453"/>
            <ac:cxnSpMk id="12" creationId="{F3F3851C-6B4E-63FF-A84A-9A1A6E7B96BB}"/>
          </ac:cxnSpMkLst>
        </pc:cxnChg>
        <pc:cxnChg chg="add mod">
          <ac:chgData name="Jan Cordtz" userId="b5e592fb-fc8b-4323-a97d-691438b2e2da" providerId="ADAL" clId="{4E22EDF5-2883-5D57-B9C7-04E66950367B}" dt="2026-01-07T15:44:59" v="9735" actId="692"/>
          <ac:cxnSpMkLst>
            <pc:docMk/>
            <pc:sldMk cId="3814116829" sldId="2147483453"/>
            <ac:cxnSpMk id="13" creationId="{DCA6C7E2-C5D1-0E4A-003A-FA02CB90728A}"/>
          </ac:cxnSpMkLst>
        </pc:cxnChg>
        <pc:cxnChg chg="add mod">
          <ac:chgData name="Jan Cordtz" userId="b5e592fb-fc8b-4323-a97d-691438b2e2da" providerId="ADAL" clId="{4E22EDF5-2883-5D57-B9C7-04E66950367B}" dt="2026-01-07T15:44:59" v="9735" actId="692"/>
          <ac:cxnSpMkLst>
            <pc:docMk/>
            <pc:sldMk cId="3814116829" sldId="2147483453"/>
            <ac:cxnSpMk id="14" creationId="{86DA2898-C736-DF76-31B2-E340610D44AD}"/>
          </ac:cxnSpMkLst>
        </pc:cxnChg>
      </pc:sldChg>
      <pc:sldChg chg="addSp delSp modSp add mod modClrScheme chgLayout">
        <pc:chgData name="Jan Cordtz" userId="b5e592fb-fc8b-4323-a97d-691438b2e2da" providerId="ADAL" clId="{4E22EDF5-2883-5D57-B9C7-04E66950367B}" dt="2026-01-12T15:45:33.278" v="18673" actId="700"/>
        <pc:sldMkLst>
          <pc:docMk/>
          <pc:sldMk cId="3539504392" sldId="2147483454"/>
        </pc:sldMkLst>
        <pc:spChg chg="mod">
          <ac:chgData name="Jan Cordtz" userId="b5e592fb-fc8b-4323-a97d-691438b2e2da" providerId="ADAL" clId="{4E22EDF5-2883-5D57-B9C7-04E66950367B}" dt="2025-12-16T10:00:15.259" v="2397" actId="113"/>
          <ac:spMkLst>
            <pc:docMk/>
            <pc:sldMk cId="3539504392" sldId="2147483454"/>
            <ac:spMk id="3" creationId="{41E5CAE9-A826-3A36-4E07-2A3CA9B39E3E}"/>
          </ac:spMkLst>
        </pc:spChg>
        <pc:spChg chg="add mod">
          <ac:chgData name="Jan Cordtz" userId="b5e592fb-fc8b-4323-a97d-691438b2e2da" providerId="ADAL" clId="{4E22EDF5-2883-5D57-B9C7-04E66950367B}" dt="2025-12-18T17:32:31.440" v="8818" actId="207"/>
          <ac:spMkLst>
            <pc:docMk/>
            <pc:sldMk cId="3539504392" sldId="2147483454"/>
            <ac:spMk id="4" creationId="{537F959A-FE51-1E91-D549-34E9231097D4}"/>
          </ac:spMkLst>
        </pc:spChg>
        <pc:spChg chg="mod">
          <ac:chgData name="Jan Cordtz" userId="b5e592fb-fc8b-4323-a97d-691438b2e2da" providerId="ADAL" clId="{4E22EDF5-2883-5D57-B9C7-04E66950367B}" dt="2026-01-05T10:22:22.858" v="9049" actId="20577"/>
          <ac:spMkLst>
            <pc:docMk/>
            <pc:sldMk cId="3539504392" sldId="2147483454"/>
            <ac:spMk id="5" creationId="{7AFA3D91-3E95-4104-9C22-0DEAF900EFD0}"/>
          </ac:spMkLst>
        </pc:spChg>
        <pc:picChg chg="add mod">
          <ac:chgData name="Jan Cordtz" userId="b5e592fb-fc8b-4323-a97d-691438b2e2da" providerId="ADAL" clId="{4E22EDF5-2883-5D57-B9C7-04E66950367B}" dt="2025-12-16T08:47:59.001" v="1305" actId="1076"/>
          <ac:picMkLst>
            <pc:docMk/>
            <pc:sldMk cId="3539504392" sldId="2147483454"/>
            <ac:picMk id="2" creationId="{D0455FD6-E5B5-9E8E-DB85-A2CBF7EB25B0}"/>
          </ac:picMkLst>
        </pc:picChg>
        <pc:cxnChg chg="add mod">
          <ac:chgData name="Jan Cordtz" userId="b5e592fb-fc8b-4323-a97d-691438b2e2da" providerId="ADAL" clId="{4E22EDF5-2883-5D57-B9C7-04E66950367B}" dt="2026-01-07T15:44:42.468" v="9733" actId="692"/>
          <ac:cxnSpMkLst>
            <pc:docMk/>
            <pc:sldMk cId="3539504392" sldId="2147483454"/>
            <ac:cxnSpMk id="6" creationId="{0BE18C9B-8415-47F9-B791-23399393A909}"/>
          </ac:cxnSpMkLst>
        </pc:cxnChg>
        <pc:cxnChg chg="add mod">
          <ac:chgData name="Jan Cordtz" userId="b5e592fb-fc8b-4323-a97d-691438b2e2da" providerId="ADAL" clId="{4E22EDF5-2883-5D57-B9C7-04E66950367B}" dt="2026-01-07T15:44:47.709" v="9734" actId="692"/>
          <ac:cxnSpMkLst>
            <pc:docMk/>
            <pc:sldMk cId="3539504392" sldId="2147483454"/>
            <ac:cxnSpMk id="9" creationId="{ECF65338-89B1-73E8-CEFA-1A8356BF5ED1}"/>
          </ac:cxnSpMkLst>
        </pc:cxnChg>
      </pc:sldChg>
      <pc:sldChg chg="addSp delSp modSp add mod modClrScheme chgLayout">
        <pc:chgData name="Jan Cordtz" userId="b5e592fb-fc8b-4323-a97d-691438b2e2da" providerId="ADAL" clId="{4E22EDF5-2883-5D57-B9C7-04E66950367B}" dt="2026-01-12T15:45:33.278" v="18673" actId="700"/>
        <pc:sldMkLst>
          <pc:docMk/>
          <pc:sldMk cId="2644657765" sldId="2147483455"/>
        </pc:sldMkLst>
        <pc:spChg chg="add mod">
          <ac:chgData name="Jan Cordtz" userId="b5e592fb-fc8b-4323-a97d-691438b2e2da" providerId="ADAL" clId="{4E22EDF5-2883-5D57-B9C7-04E66950367B}" dt="2025-12-18T17:32:09.900" v="8813"/>
          <ac:spMkLst>
            <pc:docMk/>
            <pc:sldMk cId="2644657765" sldId="2147483455"/>
            <ac:spMk id="2" creationId="{BF692AAB-7A10-8203-B37B-247CCC15E15D}"/>
          </ac:spMkLst>
        </pc:spChg>
        <pc:spChg chg="mod">
          <ac:chgData name="Jan Cordtz" userId="b5e592fb-fc8b-4323-a97d-691438b2e2da" providerId="ADAL" clId="{4E22EDF5-2883-5D57-B9C7-04E66950367B}" dt="2025-12-16T10:00:26.629" v="2399" actId="207"/>
          <ac:spMkLst>
            <pc:docMk/>
            <pc:sldMk cId="2644657765" sldId="2147483455"/>
            <ac:spMk id="3" creationId="{5A357D59-D87F-B115-F299-EC1E2F1193E7}"/>
          </ac:spMkLst>
        </pc:spChg>
        <pc:spChg chg="mod">
          <ac:chgData name="Jan Cordtz" userId="b5e592fb-fc8b-4323-a97d-691438b2e2da" providerId="ADAL" clId="{4E22EDF5-2883-5D57-B9C7-04E66950367B}" dt="2025-12-16T12:27:17.217" v="3616" actId="207"/>
          <ac:spMkLst>
            <pc:docMk/>
            <pc:sldMk cId="2644657765" sldId="2147483455"/>
            <ac:spMk id="5" creationId="{2A086552-82AB-C38C-1DE7-F0141C5C13A3}"/>
          </ac:spMkLst>
        </pc:spChg>
        <pc:picChg chg="add mod">
          <ac:chgData name="Jan Cordtz" userId="b5e592fb-fc8b-4323-a97d-691438b2e2da" providerId="ADAL" clId="{4E22EDF5-2883-5D57-B9C7-04E66950367B}" dt="2025-12-16T08:53:14.064" v="1688" actId="167"/>
          <ac:picMkLst>
            <pc:docMk/>
            <pc:sldMk cId="2644657765" sldId="2147483455"/>
            <ac:picMk id="4" creationId="{82081FBC-D51F-A590-7B17-9E6B6C6D6020}"/>
          </ac:picMkLst>
        </pc:picChg>
        <pc:cxnChg chg="mod">
          <ac:chgData name="Jan Cordtz" userId="b5e592fb-fc8b-4323-a97d-691438b2e2da" providerId="ADAL" clId="{4E22EDF5-2883-5D57-B9C7-04E66950367B}" dt="2026-01-07T15:44:36.791" v="9732" actId="692"/>
          <ac:cxnSpMkLst>
            <pc:docMk/>
            <pc:sldMk cId="2644657765" sldId="2147483455"/>
            <ac:cxnSpMk id="6" creationId="{068B13BA-3D16-BD10-0D57-07B4BF6486EC}"/>
          </ac:cxnSpMkLst>
        </pc:cxnChg>
      </pc:sldChg>
      <pc:sldChg chg="addSp delSp modSp add mod modClrScheme chgLayout">
        <pc:chgData name="Jan Cordtz" userId="b5e592fb-fc8b-4323-a97d-691438b2e2da" providerId="ADAL" clId="{4E22EDF5-2883-5D57-B9C7-04E66950367B}" dt="2026-01-12T15:45:33.278" v="18673" actId="700"/>
        <pc:sldMkLst>
          <pc:docMk/>
          <pc:sldMk cId="351938932" sldId="2147483456"/>
        </pc:sldMkLst>
        <pc:spChg chg="mod">
          <ac:chgData name="Jan Cordtz" userId="b5e592fb-fc8b-4323-a97d-691438b2e2da" providerId="ADAL" clId="{4E22EDF5-2883-5D57-B9C7-04E66950367B}" dt="2025-12-16T10:00:37.631" v="2401" actId="207"/>
          <ac:spMkLst>
            <pc:docMk/>
            <pc:sldMk cId="351938932" sldId="2147483456"/>
            <ac:spMk id="3" creationId="{CFFF5F64-50DC-A9FA-718C-4FA79EF48CBB}"/>
          </ac:spMkLst>
        </pc:spChg>
        <pc:spChg chg="add mod">
          <ac:chgData name="Jan Cordtz" userId="b5e592fb-fc8b-4323-a97d-691438b2e2da" providerId="ADAL" clId="{4E22EDF5-2883-5D57-B9C7-04E66950367B}" dt="2025-12-18T17:32:41.217" v="8819" actId="207"/>
          <ac:spMkLst>
            <pc:docMk/>
            <pc:sldMk cId="351938932" sldId="2147483456"/>
            <ac:spMk id="4" creationId="{909ED784-B2FE-AA8E-274A-A583882E0B8B}"/>
          </ac:spMkLst>
        </pc:spChg>
        <pc:spChg chg="mod">
          <ac:chgData name="Jan Cordtz" userId="b5e592fb-fc8b-4323-a97d-691438b2e2da" providerId="ADAL" clId="{4E22EDF5-2883-5D57-B9C7-04E66950367B}" dt="2025-12-16T12:26:28.287" v="3608" actId="207"/>
          <ac:spMkLst>
            <pc:docMk/>
            <pc:sldMk cId="351938932" sldId="2147483456"/>
            <ac:spMk id="5" creationId="{90666CC2-5F2E-131A-8F35-857544081B5D}"/>
          </ac:spMkLst>
        </pc:spChg>
        <pc:picChg chg="add mod">
          <ac:chgData name="Jan Cordtz" userId="b5e592fb-fc8b-4323-a97d-691438b2e2da" providerId="ADAL" clId="{4E22EDF5-2883-5D57-B9C7-04E66950367B}" dt="2025-12-16T08:56:53.222" v="1960" actId="1076"/>
          <ac:picMkLst>
            <pc:docMk/>
            <pc:sldMk cId="351938932" sldId="2147483456"/>
            <ac:picMk id="2" creationId="{D59E2D44-5A9B-2E6B-432B-EA7F5F831816}"/>
          </ac:picMkLst>
        </pc:picChg>
        <pc:cxnChg chg="mod">
          <ac:chgData name="Jan Cordtz" userId="b5e592fb-fc8b-4323-a97d-691438b2e2da" providerId="ADAL" clId="{4E22EDF5-2883-5D57-B9C7-04E66950367B}" dt="2026-01-07T15:44:27.885" v="9731" actId="692"/>
          <ac:cxnSpMkLst>
            <pc:docMk/>
            <pc:sldMk cId="351938932" sldId="2147483456"/>
            <ac:cxnSpMk id="6" creationId="{2FCA71A1-6EBB-8CE2-4B7F-17708D0F6E6C}"/>
          </ac:cxnSpMkLst>
        </pc:cxnChg>
      </pc:sldChg>
      <pc:sldChg chg="addSp delSp modSp add mod modClrScheme chgLayout">
        <pc:chgData name="Jan Cordtz" userId="b5e592fb-fc8b-4323-a97d-691438b2e2da" providerId="ADAL" clId="{4E22EDF5-2883-5D57-B9C7-04E66950367B}" dt="2026-01-12T15:45:33.278" v="18673" actId="700"/>
        <pc:sldMkLst>
          <pc:docMk/>
          <pc:sldMk cId="1184789471" sldId="2147483457"/>
        </pc:sldMkLst>
        <pc:spChg chg="add mod">
          <ac:chgData name="Jan Cordtz" userId="b5e592fb-fc8b-4323-a97d-691438b2e2da" providerId="ADAL" clId="{4E22EDF5-2883-5D57-B9C7-04E66950367B}" dt="2025-12-18T17:32:49.317" v="8820" actId="207"/>
          <ac:spMkLst>
            <pc:docMk/>
            <pc:sldMk cId="1184789471" sldId="2147483457"/>
            <ac:spMk id="2" creationId="{467A5B60-FED1-5BBD-23D6-8B5C6FF36322}"/>
          </ac:spMkLst>
        </pc:spChg>
        <pc:spChg chg="mod">
          <ac:chgData name="Jan Cordtz" userId="b5e592fb-fc8b-4323-a97d-691438b2e2da" providerId="ADAL" clId="{4E22EDF5-2883-5D57-B9C7-04E66950367B}" dt="2025-12-16T10:00:46.414" v="2403" actId="207"/>
          <ac:spMkLst>
            <pc:docMk/>
            <pc:sldMk cId="1184789471" sldId="2147483457"/>
            <ac:spMk id="3" creationId="{DBF01979-36D1-EA37-8EC8-3F42C01F9AFB}"/>
          </ac:spMkLst>
        </pc:spChg>
        <pc:spChg chg="mod">
          <ac:chgData name="Jan Cordtz" userId="b5e592fb-fc8b-4323-a97d-691438b2e2da" providerId="ADAL" clId="{4E22EDF5-2883-5D57-B9C7-04E66950367B}" dt="2025-12-16T12:28:00.799" v="3621" actId="207"/>
          <ac:spMkLst>
            <pc:docMk/>
            <pc:sldMk cId="1184789471" sldId="2147483457"/>
            <ac:spMk id="5" creationId="{8FBDBC0C-75F8-482E-58A8-77ED594B63C7}"/>
          </ac:spMkLst>
        </pc:spChg>
        <pc:picChg chg="add mod">
          <ac:chgData name="Jan Cordtz" userId="b5e592fb-fc8b-4323-a97d-691438b2e2da" providerId="ADAL" clId="{4E22EDF5-2883-5D57-B9C7-04E66950367B}" dt="2025-12-18T17:33:01.154" v="8821" actId="1076"/>
          <ac:picMkLst>
            <pc:docMk/>
            <pc:sldMk cId="1184789471" sldId="2147483457"/>
            <ac:picMk id="4" creationId="{E3F7835F-190F-D5D6-BB58-AD79FD6EC7C3}"/>
          </ac:picMkLst>
        </pc:picChg>
        <pc:cxnChg chg="mod">
          <ac:chgData name="Jan Cordtz" userId="b5e592fb-fc8b-4323-a97d-691438b2e2da" providerId="ADAL" clId="{4E22EDF5-2883-5D57-B9C7-04E66950367B}" dt="2026-01-07T15:44:20.990" v="9730" actId="692"/>
          <ac:cxnSpMkLst>
            <pc:docMk/>
            <pc:sldMk cId="1184789471" sldId="2147483457"/>
            <ac:cxnSpMk id="6" creationId="{5BC1EB38-35FF-46DD-29B1-E22EBE3BDA54}"/>
          </ac:cxnSpMkLst>
        </pc:cxnChg>
      </pc:sldChg>
      <pc:sldChg chg="addSp delSp modSp add mod modClrScheme chgLayout">
        <pc:chgData name="Jan Cordtz" userId="b5e592fb-fc8b-4323-a97d-691438b2e2da" providerId="ADAL" clId="{4E22EDF5-2883-5D57-B9C7-04E66950367B}" dt="2026-01-12T15:45:33.278" v="18673" actId="700"/>
        <pc:sldMkLst>
          <pc:docMk/>
          <pc:sldMk cId="712584334" sldId="2147483458"/>
        </pc:sldMkLst>
        <pc:spChg chg="add mod">
          <ac:chgData name="Jan Cordtz" userId="b5e592fb-fc8b-4323-a97d-691438b2e2da" providerId="ADAL" clId="{4E22EDF5-2883-5D57-B9C7-04E66950367B}" dt="2025-12-18T17:32:04.818" v="8809"/>
          <ac:spMkLst>
            <pc:docMk/>
            <pc:sldMk cId="712584334" sldId="2147483458"/>
            <ac:spMk id="2" creationId="{7E86B7A2-5086-15F2-9618-6840032CE980}"/>
          </ac:spMkLst>
        </pc:spChg>
        <pc:spChg chg="mod">
          <ac:chgData name="Jan Cordtz" userId="b5e592fb-fc8b-4323-a97d-691438b2e2da" providerId="ADAL" clId="{4E22EDF5-2883-5D57-B9C7-04E66950367B}" dt="2025-12-16T09:59:58.175" v="2393" actId="113"/>
          <ac:spMkLst>
            <pc:docMk/>
            <pc:sldMk cId="712584334" sldId="2147483458"/>
            <ac:spMk id="3" creationId="{0F3C2698-E852-EBA4-FD10-EB15C5566303}"/>
          </ac:spMkLst>
        </pc:spChg>
        <pc:spChg chg="mod">
          <ac:chgData name="Jan Cordtz" userId="b5e592fb-fc8b-4323-a97d-691438b2e2da" providerId="ADAL" clId="{4E22EDF5-2883-5D57-B9C7-04E66950367B}" dt="2025-12-16T09:02:16.744" v="2212" actId="1076"/>
          <ac:spMkLst>
            <pc:docMk/>
            <pc:sldMk cId="712584334" sldId="2147483458"/>
            <ac:spMk id="5" creationId="{C2B3C731-EDD3-BD6E-3570-1D896FE1FD3E}"/>
          </ac:spMkLst>
        </pc:spChg>
        <pc:spChg chg="mod">
          <ac:chgData name="Jan Cordtz" userId="b5e592fb-fc8b-4323-a97d-691438b2e2da" providerId="ADAL" clId="{4E22EDF5-2883-5D57-B9C7-04E66950367B}" dt="2026-01-07T15:45:16.387" v="9736" actId="692"/>
          <ac:spMkLst>
            <pc:docMk/>
            <pc:sldMk cId="712584334" sldId="2147483458"/>
            <ac:spMk id="6" creationId="{56F31DA8-C386-9F75-DB4D-AE9AE1139694}"/>
          </ac:spMkLst>
        </pc:spChg>
        <pc:spChg chg="mod">
          <ac:chgData name="Jan Cordtz" userId="b5e592fb-fc8b-4323-a97d-691438b2e2da" providerId="ADAL" clId="{4E22EDF5-2883-5D57-B9C7-04E66950367B}" dt="2026-01-07T15:45:20.296" v="9737" actId="692"/>
          <ac:spMkLst>
            <pc:docMk/>
            <pc:sldMk cId="712584334" sldId="2147483458"/>
            <ac:spMk id="7" creationId="{5AD2B6E8-6F51-43E5-4B29-F74A3152FBCE}"/>
          </ac:spMkLst>
        </pc:spChg>
        <pc:picChg chg="mod">
          <ac:chgData name="Jan Cordtz" userId="b5e592fb-fc8b-4323-a97d-691438b2e2da" providerId="ADAL" clId="{4E22EDF5-2883-5D57-B9C7-04E66950367B}" dt="2025-12-16T09:02:16.744" v="2212" actId="1076"/>
          <ac:picMkLst>
            <pc:docMk/>
            <pc:sldMk cId="712584334" sldId="2147483458"/>
            <ac:picMk id="4" creationId="{E6B0D2F0-7F40-B5F8-90B9-CBAABC62643A}"/>
          </ac:picMkLst>
        </pc:picChg>
      </pc:sldChg>
      <pc:sldChg chg="addSp modSp new mod modClrScheme chgLayout">
        <pc:chgData name="Jan Cordtz" userId="b5e592fb-fc8b-4323-a97d-691438b2e2da" providerId="ADAL" clId="{4E22EDF5-2883-5D57-B9C7-04E66950367B}" dt="2026-01-12T15:45:33.278" v="18673" actId="700"/>
        <pc:sldMkLst>
          <pc:docMk/>
          <pc:sldMk cId="203319648" sldId="2147483459"/>
        </pc:sldMkLst>
        <pc:spChg chg="add mod">
          <ac:chgData name="Jan Cordtz" userId="b5e592fb-fc8b-4323-a97d-691438b2e2da" providerId="ADAL" clId="{4E22EDF5-2883-5D57-B9C7-04E66950367B}" dt="2025-12-16T12:16:34.007" v="2698" actId="113"/>
          <ac:spMkLst>
            <pc:docMk/>
            <pc:sldMk cId="203319648" sldId="2147483459"/>
            <ac:spMk id="2" creationId="{C5FB9CEB-B7E5-016E-0CC4-3B04A571C79F}"/>
          </ac:spMkLst>
        </pc:spChg>
        <pc:spChg chg="add mod">
          <ac:chgData name="Jan Cordtz" userId="b5e592fb-fc8b-4323-a97d-691438b2e2da" providerId="ADAL" clId="{4E22EDF5-2883-5D57-B9C7-04E66950367B}" dt="2025-12-18T07:16:21.683" v="3623" actId="207"/>
          <ac:spMkLst>
            <pc:docMk/>
            <pc:sldMk cId="203319648" sldId="2147483459"/>
            <ac:spMk id="3" creationId="{56656020-75B3-045D-4759-3C54A9FAD5A5}"/>
          </ac:spMkLst>
        </pc:spChg>
        <pc:spChg chg="add mod">
          <ac:chgData name="Jan Cordtz" userId="b5e592fb-fc8b-4323-a97d-691438b2e2da" providerId="ADAL" clId="{4E22EDF5-2883-5D57-B9C7-04E66950367B}" dt="2025-12-16T12:20:34.964" v="2959" actId="1076"/>
          <ac:spMkLst>
            <pc:docMk/>
            <pc:sldMk cId="203319648" sldId="2147483459"/>
            <ac:spMk id="5" creationId="{693F9CB5-320F-BD5D-B102-19B56D32986F}"/>
          </ac:spMkLst>
        </pc:spChg>
        <pc:spChg chg="add mod">
          <ac:chgData name="Jan Cordtz" userId="b5e592fb-fc8b-4323-a97d-691438b2e2da" providerId="ADAL" clId="{4E22EDF5-2883-5D57-B9C7-04E66950367B}" dt="2025-12-18T17:33:14.698" v="8823" actId="207"/>
          <ac:spMkLst>
            <pc:docMk/>
            <pc:sldMk cId="203319648" sldId="2147483459"/>
            <ac:spMk id="6" creationId="{CC1C31BE-AF98-8AF5-7618-BAAB17F48163}"/>
          </ac:spMkLst>
        </pc:spChg>
        <pc:picChg chg="add mod">
          <ac:chgData name="Jan Cordtz" userId="b5e592fb-fc8b-4323-a97d-691438b2e2da" providerId="ADAL" clId="{4E22EDF5-2883-5D57-B9C7-04E66950367B}" dt="2025-12-16T12:20:31.130" v="2958" actId="14100"/>
          <ac:picMkLst>
            <pc:docMk/>
            <pc:sldMk cId="203319648" sldId="2147483459"/>
            <ac:picMk id="4" creationId="{6BBCC3D3-63B4-D9DF-D99B-3918BB1323AB}"/>
          </ac:picMkLst>
        </pc:picChg>
      </pc:sldChg>
      <pc:sldChg chg="addSp modSp add mod modClrScheme chgLayout">
        <pc:chgData name="Jan Cordtz" userId="b5e592fb-fc8b-4323-a97d-691438b2e2da" providerId="ADAL" clId="{4E22EDF5-2883-5D57-B9C7-04E66950367B}" dt="2026-01-12T15:45:33.278" v="18673" actId="700"/>
        <pc:sldMkLst>
          <pc:docMk/>
          <pc:sldMk cId="49865275" sldId="2147483460"/>
        </pc:sldMkLst>
        <pc:spChg chg="mod">
          <ac:chgData name="Jan Cordtz" userId="b5e592fb-fc8b-4323-a97d-691438b2e2da" providerId="ADAL" clId="{4E22EDF5-2883-5D57-B9C7-04E66950367B}" dt="2025-12-16T12:18:21.797" v="2909" actId="20577"/>
          <ac:spMkLst>
            <pc:docMk/>
            <pc:sldMk cId="49865275" sldId="2147483460"/>
            <ac:spMk id="2" creationId="{56B7B94B-7B4C-D767-7455-F08B8C88E2E2}"/>
          </ac:spMkLst>
        </pc:spChg>
        <pc:spChg chg="mod">
          <ac:chgData name="Jan Cordtz" userId="b5e592fb-fc8b-4323-a97d-691438b2e2da" providerId="ADAL" clId="{4E22EDF5-2883-5D57-B9C7-04E66950367B}" dt="2025-12-18T11:43:26.516" v="3629" actId="113"/>
          <ac:spMkLst>
            <pc:docMk/>
            <pc:sldMk cId="49865275" sldId="2147483460"/>
            <ac:spMk id="3" creationId="{0242CBDF-89C5-7AB5-9445-67AE993B5775}"/>
          </ac:spMkLst>
        </pc:spChg>
        <pc:spChg chg="add mod">
          <ac:chgData name="Jan Cordtz" userId="b5e592fb-fc8b-4323-a97d-691438b2e2da" providerId="ADAL" clId="{4E22EDF5-2883-5D57-B9C7-04E66950367B}" dt="2025-12-18T17:32:16.237" v="8817"/>
          <ac:spMkLst>
            <pc:docMk/>
            <pc:sldMk cId="49865275" sldId="2147483460"/>
            <ac:spMk id="17" creationId="{AE788DA6-8F3D-6244-6424-AF8E9F025016}"/>
          </ac:spMkLst>
        </pc:spChg>
        <pc:picChg chg="add mod">
          <ac:chgData name="Jan Cordtz" userId="b5e592fb-fc8b-4323-a97d-691438b2e2da" providerId="ADAL" clId="{4E22EDF5-2883-5D57-B9C7-04E66950367B}" dt="2025-12-16T12:21:25.953" v="2965" actId="167"/>
          <ac:picMkLst>
            <pc:docMk/>
            <pc:sldMk cId="49865275" sldId="2147483460"/>
            <ac:picMk id="4" creationId="{FAA53D3E-4B39-F830-1BEB-4462B3E7A111}"/>
          </ac:picMkLst>
        </pc:picChg>
        <pc:cxnChg chg="add mod">
          <ac:chgData name="Jan Cordtz" userId="b5e592fb-fc8b-4323-a97d-691438b2e2da" providerId="ADAL" clId="{4E22EDF5-2883-5D57-B9C7-04E66950367B}" dt="2026-01-07T15:43:55.744" v="9727" actId="692"/>
          <ac:cxnSpMkLst>
            <pc:docMk/>
            <pc:sldMk cId="49865275" sldId="2147483460"/>
            <ac:cxnSpMk id="5" creationId="{561894AC-E758-108C-24BA-2905C053DF65}"/>
          </ac:cxnSpMkLst>
        </pc:cxnChg>
        <pc:cxnChg chg="add mod">
          <ac:chgData name="Jan Cordtz" userId="b5e592fb-fc8b-4323-a97d-691438b2e2da" providerId="ADAL" clId="{4E22EDF5-2883-5D57-B9C7-04E66950367B}" dt="2026-01-07T15:44:02.103" v="9728" actId="692"/>
          <ac:cxnSpMkLst>
            <pc:docMk/>
            <pc:sldMk cId="49865275" sldId="2147483460"/>
            <ac:cxnSpMk id="6" creationId="{52DB9B8A-9DF8-0857-53CD-D10B429989EE}"/>
          </ac:cxnSpMkLst>
        </pc:cxnChg>
        <pc:cxnChg chg="add mod">
          <ac:chgData name="Jan Cordtz" userId="b5e592fb-fc8b-4323-a97d-691438b2e2da" providerId="ADAL" clId="{4E22EDF5-2883-5D57-B9C7-04E66950367B}" dt="2026-01-07T15:44:07.666" v="9729" actId="692"/>
          <ac:cxnSpMkLst>
            <pc:docMk/>
            <pc:sldMk cId="49865275" sldId="2147483460"/>
            <ac:cxnSpMk id="7" creationId="{4C499102-A3B5-9795-B505-F655488074C3}"/>
          </ac:cxnSpMkLst>
        </pc:cxnChg>
      </pc:sldChg>
      <pc:sldChg chg="addSp delSp modSp new mod modClrScheme chgLayout">
        <pc:chgData name="Jan Cordtz" userId="b5e592fb-fc8b-4323-a97d-691438b2e2da" providerId="ADAL" clId="{4E22EDF5-2883-5D57-B9C7-04E66950367B}" dt="2025-12-18T17:33:28.815" v="8824" actId="478"/>
        <pc:sldMkLst>
          <pc:docMk/>
          <pc:sldMk cId="2200938263" sldId="2147483461"/>
        </pc:sldMkLst>
        <pc:spChg chg="add mod">
          <ac:chgData name="Jan Cordtz" userId="b5e592fb-fc8b-4323-a97d-691438b2e2da" providerId="ADAL" clId="{4E22EDF5-2883-5D57-B9C7-04E66950367B}" dt="2025-12-18T11:44:22.661" v="3654" actId="1076"/>
          <ac:spMkLst>
            <pc:docMk/>
            <pc:sldMk cId="2200938263" sldId="2147483461"/>
            <ac:spMk id="2" creationId="{9EA52250-B9DF-1FD4-1C8A-339086A9F226}"/>
          </ac:spMkLst>
        </pc:spChg>
      </pc:sldChg>
      <pc:sldChg chg="addSp modSp new mod modClrScheme chgLayout">
        <pc:chgData name="Jan Cordtz" userId="b5e592fb-fc8b-4323-a97d-691438b2e2da" providerId="ADAL" clId="{4E22EDF5-2883-5D57-B9C7-04E66950367B}" dt="2026-01-12T15:45:42.298" v="18674" actId="700"/>
        <pc:sldMkLst>
          <pc:docMk/>
          <pc:sldMk cId="2714275684" sldId="2147483462"/>
        </pc:sldMkLst>
        <pc:spChg chg="add mod">
          <ac:chgData name="Jan Cordtz" userId="b5e592fb-fc8b-4323-a97d-691438b2e2da" providerId="ADAL" clId="{4E22EDF5-2883-5D57-B9C7-04E66950367B}" dt="2025-12-18T11:45:27.864" v="3696" actId="20577"/>
          <ac:spMkLst>
            <pc:docMk/>
            <pc:sldMk cId="2714275684" sldId="2147483462"/>
            <ac:spMk id="2" creationId="{90B8172E-05C5-17CC-4B7F-D483210CEF56}"/>
          </ac:spMkLst>
        </pc:spChg>
        <pc:spChg chg="add mod">
          <ac:chgData name="Jan Cordtz" userId="b5e592fb-fc8b-4323-a97d-691438b2e2da" providerId="ADAL" clId="{4E22EDF5-2883-5D57-B9C7-04E66950367B}" dt="2025-12-18T11:49:34.399" v="3928" actId="6549"/>
          <ac:spMkLst>
            <pc:docMk/>
            <pc:sldMk cId="2714275684" sldId="2147483462"/>
            <ac:spMk id="4" creationId="{54BFDACF-C1C1-D5FA-E808-B74B2C89E641}"/>
          </ac:spMkLst>
        </pc:spChg>
        <pc:spChg chg="add mod">
          <ac:chgData name="Jan Cordtz" userId="b5e592fb-fc8b-4323-a97d-691438b2e2da" providerId="ADAL" clId="{4E22EDF5-2883-5D57-B9C7-04E66950367B}" dt="2025-12-18T15:59:47.998" v="6174"/>
          <ac:spMkLst>
            <pc:docMk/>
            <pc:sldMk cId="2714275684" sldId="2147483462"/>
            <ac:spMk id="22" creationId="{DD6BDF49-AE66-DA0C-19EB-5A93A4FAB529}"/>
          </ac:spMkLst>
        </pc:spChg>
        <pc:picChg chg="add mod">
          <ac:chgData name="Jan Cordtz" userId="b5e592fb-fc8b-4323-a97d-691438b2e2da" providerId="ADAL" clId="{4E22EDF5-2883-5D57-B9C7-04E66950367B}" dt="2025-12-18T11:46:39.126" v="3699" actId="1076"/>
          <ac:picMkLst>
            <pc:docMk/>
            <pc:sldMk cId="2714275684" sldId="2147483462"/>
            <ac:picMk id="3" creationId="{08023119-B2CC-172A-6C20-80BF3DA7D071}"/>
          </ac:picMkLst>
        </pc:picChg>
        <pc:cxnChg chg="add mod">
          <ac:chgData name="Jan Cordtz" userId="b5e592fb-fc8b-4323-a97d-691438b2e2da" providerId="ADAL" clId="{4E22EDF5-2883-5D57-B9C7-04E66950367B}" dt="2026-01-07T15:47:31.120" v="9750" actId="692"/>
          <ac:cxnSpMkLst>
            <pc:docMk/>
            <pc:sldMk cId="2714275684" sldId="2147483462"/>
            <ac:cxnSpMk id="5" creationId="{B6DEFEB9-D9F7-F218-37FD-9647C9E638D7}"/>
          </ac:cxnSpMkLst>
        </pc:cxnChg>
        <pc:cxnChg chg="add mod">
          <ac:chgData name="Jan Cordtz" userId="b5e592fb-fc8b-4323-a97d-691438b2e2da" providerId="ADAL" clId="{4E22EDF5-2883-5D57-B9C7-04E66950367B}" dt="2026-01-07T15:47:36.919" v="9751" actId="692"/>
          <ac:cxnSpMkLst>
            <pc:docMk/>
            <pc:sldMk cId="2714275684" sldId="2147483462"/>
            <ac:cxnSpMk id="6" creationId="{60B5BF69-6BCF-3C38-57C9-43BE03153B90}"/>
          </ac:cxnSpMkLst>
        </pc:cxnChg>
        <pc:cxnChg chg="add mod">
          <ac:chgData name="Jan Cordtz" userId="b5e592fb-fc8b-4323-a97d-691438b2e2da" providerId="ADAL" clId="{4E22EDF5-2883-5D57-B9C7-04E66950367B}" dt="2026-01-07T15:47:40.415" v="9752" actId="692"/>
          <ac:cxnSpMkLst>
            <pc:docMk/>
            <pc:sldMk cId="2714275684" sldId="2147483462"/>
            <ac:cxnSpMk id="7" creationId="{62C852AB-715C-6BA4-228C-EC61B041206A}"/>
          </ac:cxnSpMkLst>
        </pc:cxnChg>
        <pc:cxnChg chg="add mod">
          <ac:chgData name="Jan Cordtz" userId="b5e592fb-fc8b-4323-a97d-691438b2e2da" providerId="ADAL" clId="{4E22EDF5-2883-5D57-B9C7-04E66950367B}" dt="2026-01-07T15:47:44.567" v="9753" actId="692"/>
          <ac:cxnSpMkLst>
            <pc:docMk/>
            <pc:sldMk cId="2714275684" sldId="2147483462"/>
            <ac:cxnSpMk id="21" creationId="{A29A1E1C-47BF-8432-7F82-EE324E1364F7}"/>
          </ac:cxnSpMkLst>
        </pc:cxnChg>
      </pc:sldChg>
      <pc:sldChg chg="addSp delSp modSp new mod setBg modClrScheme chgLayout">
        <pc:chgData name="Jan Cordtz" userId="b5e592fb-fc8b-4323-a97d-691438b2e2da" providerId="ADAL" clId="{4E22EDF5-2883-5D57-B9C7-04E66950367B}" dt="2026-01-12T15:45:42.298" v="18674" actId="700"/>
        <pc:sldMkLst>
          <pc:docMk/>
          <pc:sldMk cId="2924597104" sldId="2147483463"/>
        </pc:sldMkLst>
        <pc:spChg chg="add mod">
          <ac:chgData name="Jan Cordtz" userId="b5e592fb-fc8b-4323-a97d-691438b2e2da" providerId="ADAL" clId="{4E22EDF5-2883-5D57-B9C7-04E66950367B}" dt="2025-12-18T15:58:55.019" v="6157" actId="20577"/>
          <ac:spMkLst>
            <pc:docMk/>
            <pc:sldMk cId="2924597104" sldId="2147483463"/>
            <ac:spMk id="2" creationId="{75F2713F-1273-07AC-22B4-34BF4A5A2AD6}"/>
          </ac:spMkLst>
        </pc:spChg>
        <pc:spChg chg="add mod">
          <ac:chgData name="Jan Cordtz" userId="b5e592fb-fc8b-4323-a97d-691438b2e2da" providerId="ADAL" clId="{4E22EDF5-2883-5D57-B9C7-04E66950367B}" dt="2026-01-07T15:42:19.184" v="9550" actId="1076"/>
          <ac:spMkLst>
            <pc:docMk/>
            <pc:sldMk cId="2924597104" sldId="2147483463"/>
            <ac:spMk id="3" creationId="{4F9B9891-85DD-7940-E93D-D6F0376C649D}"/>
          </ac:spMkLst>
        </pc:spChg>
        <pc:spChg chg="add mod">
          <ac:chgData name="Jan Cordtz" userId="b5e592fb-fc8b-4323-a97d-691438b2e2da" providerId="ADAL" clId="{4E22EDF5-2883-5D57-B9C7-04E66950367B}" dt="2025-12-18T15:59:41.622" v="6173" actId="1076"/>
          <ac:spMkLst>
            <pc:docMk/>
            <pc:sldMk cId="2924597104" sldId="2147483463"/>
            <ac:spMk id="22" creationId="{E8D31FD2-07C2-7642-1C9B-D4FD7A7CD699}"/>
          </ac:spMkLst>
        </pc:spChg>
        <pc:picChg chg="add mod">
          <ac:chgData name="Jan Cordtz" userId="b5e592fb-fc8b-4323-a97d-691438b2e2da" providerId="ADAL" clId="{4E22EDF5-2883-5D57-B9C7-04E66950367B}" dt="2025-12-18T15:22:11.467" v="5139" actId="1076"/>
          <ac:picMkLst>
            <pc:docMk/>
            <pc:sldMk cId="2924597104" sldId="2147483463"/>
            <ac:picMk id="4" creationId="{70721AD6-70ED-17FB-29A7-C368B30D517A}"/>
          </ac:picMkLst>
        </pc:picChg>
        <pc:cxnChg chg="add mod">
          <ac:chgData name="Jan Cordtz" userId="b5e592fb-fc8b-4323-a97d-691438b2e2da" providerId="ADAL" clId="{4E22EDF5-2883-5D57-B9C7-04E66950367B}" dt="2026-01-07T15:43:19.158" v="9725" actId="692"/>
          <ac:cxnSpMkLst>
            <pc:docMk/>
            <pc:sldMk cId="2924597104" sldId="2147483463"/>
            <ac:cxnSpMk id="6" creationId="{049EDCFA-D72B-FDF9-F6FB-8873BADDAED9}"/>
          </ac:cxnSpMkLst>
        </pc:cxnChg>
        <pc:cxnChg chg="add mod">
          <ac:chgData name="Jan Cordtz" userId="b5e592fb-fc8b-4323-a97d-691438b2e2da" providerId="ADAL" clId="{4E22EDF5-2883-5D57-B9C7-04E66950367B}" dt="2026-01-07T15:43:09.291" v="9724" actId="692"/>
          <ac:cxnSpMkLst>
            <pc:docMk/>
            <pc:sldMk cId="2924597104" sldId="2147483463"/>
            <ac:cxnSpMk id="9" creationId="{FEA1F18E-5F73-42E3-5FC1-E24CCBA301C1}"/>
          </ac:cxnSpMkLst>
        </pc:cxnChg>
        <pc:cxnChg chg="add mod">
          <ac:chgData name="Jan Cordtz" userId="b5e592fb-fc8b-4323-a97d-691438b2e2da" providerId="ADAL" clId="{4E22EDF5-2883-5D57-B9C7-04E66950367B}" dt="2026-01-07T15:43:28.925" v="9726" actId="692"/>
          <ac:cxnSpMkLst>
            <pc:docMk/>
            <pc:sldMk cId="2924597104" sldId="2147483463"/>
            <ac:cxnSpMk id="12" creationId="{E51FA0C9-050B-1C30-6D67-9A6F419137F1}"/>
          </ac:cxnSpMkLst>
        </pc:cxnChg>
      </pc:sldChg>
      <pc:sldChg chg="addSp delSp modSp add mod modClrScheme chgLayout">
        <pc:chgData name="Jan Cordtz" userId="b5e592fb-fc8b-4323-a97d-691438b2e2da" providerId="ADAL" clId="{4E22EDF5-2883-5D57-B9C7-04E66950367B}" dt="2026-01-12T15:45:42.298" v="18674" actId="700"/>
        <pc:sldMkLst>
          <pc:docMk/>
          <pc:sldMk cId="1110734972" sldId="2147483464"/>
        </pc:sldMkLst>
        <pc:spChg chg="mod">
          <ac:chgData name="Jan Cordtz" userId="b5e592fb-fc8b-4323-a97d-691438b2e2da" providerId="ADAL" clId="{4E22EDF5-2883-5D57-B9C7-04E66950367B}" dt="2025-12-18T15:33:45.438" v="5417" actId="113"/>
          <ac:spMkLst>
            <pc:docMk/>
            <pc:sldMk cId="1110734972" sldId="2147483464"/>
            <ac:spMk id="2" creationId="{971ABFEA-85CD-8CFC-7483-4A6D4F953422}"/>
          </ac:spMkLst>
        </pc:spChg>
        <pc:spChg chg="mod">
          <ac:chgData name="Jan Cordtz" userId="b5e592fb-fc8b-4323-a97d-691438b2e2da" providerId="ADAL" clId="{4E22EDF5-2883-5D57-B9C7-04E66950367B}" dt="2026-01-07T15:48:57.035" v="9757" actId="115"/>
          <ac:spMkLst>
            <pc:docMk/>
            <pc:sldMk cId="1110734972" sldId="2147483464"/>
            <ac:spMk id="3" creationId="{0A527B4E-8901-01E5-3F62-300D1B24A3BA}"/>
          </ac:spMkLst>
        </pc:spChg>
        <pc:spChg chg="add mod">
          <ac:chgData name="Jan Cordtz" userId="b5e592fb-fc8b-4323-a97d-691438b2e2da" providerId="ADAL" clId="{4E22EDF5-2883-5D57-B9C7-04E66950367B}" dt="2025-12-18T15:59:52.169" v="6175"/>
          <ac:spMkLst>
            <pc:docMk/>
            <pc:sldMk cId="1110734972" sldId="2147483464"/>
            <ac:spMk id="18" creationId="{19059D2D-82ED-5976-0E15-74B4E1CCFDED}"/>
          </ac:spMkLst>
        </pc:spChg>
        <pc:picChg chg="add mod">
          <ac:chgData name="Jan Cordtz" userId="b5e592fb-fc8b-4323-a97d-691438b2e2da" providerId="ADAL" clId="{4E22EDF5-2883-5D57-B9C7-04E66950367B}" dt="2025-12-18T15:18:15.357" v="4781" actId="1076"/>
          <ac:picMkLst>
            <pc:docMk/>
            <pc:sldMk cId="1110734972" sldId="2147483464"/>
            <ac:picMk id="6" creationId="{B5AAA39C-04E2-13C7-B4CB-3C6A34F3234A}"/>
          </ac:picMkLst>
        </pc:picChg>
        <pc:cxnChg chg="add mod">
          <ac:chgData name="Jan Cordtz" userId="b5e592fb-fc8b-4323-a97d-691438b2e2da" providerId="ADAL" clId="{4E22EDF5-2883-5D57-B9C7-04E66950367B}" dt="2026-01-07T15:49:06.374" v="9759" actId="14100"/>
          <ac:cxnSpMkLst>
            <pc:docMk/>
            <pc:sldMk cId="1110734972" sldId="2147483464"/>
            <ac:cxnSpMk id="7" creationId="{DD27EF32-F7DE-8C49-9C7D-1E5442D1E694}"/>
          </ac:cxnSpMkLst>
        </pc:cxnChg>
        <pc:cxnChg chg="add mod">
          <ac:chgData name="Jan Cordtz" userId="b5e592fb-fc8b-4323-a97d-691438b2e2da" providerId="ADAL" clId="{4E22EDF5-2883-5D57-B9C7-04E66950367B}" dt="2026-01-07T15:49:02.039" v="9758" actId="14100"/>
          <ac:cxnSpMkLst>
            <pc:docMk/>
            <pc:sldMk cId="1110734972" sldId="2147483464"/>
            <ac:cxnSpMk id="8" creationId="{524DBC7D-B841-AD9F-E166-FC3F74BC1A22}"/>
          </ac:cxnSpMkLst>
        </pc:cxnChg>
      </pc:sldChg>
      <pc:sldChg chg="addSp delSp modSp new mod modClrScheme chgLayout">
        <pc:chgData name="Jan Cordtz" userId="b5e592fb-fc8b-4323-a97d-691438b2e2da" providerId="ADAL" clId="{4E22EDF5-2883-5D57-B9C7-04E66950367B}" dt="2026-01-12T15:45:42.298" v="18674" actId="700"/>
        <pc:sldMkLst>
          <pc:docMk/>
          <pc:sldMk cId="3521415279" sldId="2147483465"/>
        </pc:sldMkLst>
        <pc:spChg chg="add mod">
          <ac:chgData name="Jan Cordtz" userId="b5e592fb-fc8b-4323-a97d-691438b2e2da" providerId="ADAL" clId="{4E22EDF5-2883-5D57-B9C7-04E66950367B}" dt="2025-12-18T15:34:00.601" v="5419" actId="113"/>
          <ac:spMkLst>
            <pc:docMk/>
            <pc:sldMk cId="3521415279" sldId="2147483465"/>
            <ac:spMk id="2" creationId="{73C39F56-FE48-66F1-20C1-CE747CF7F517}"/>
          </ac:spMkLst>
        </pc:spChg>
        <pc:spChg chg="add mod">
          <ac:chgData name="Jan Cordtz" userId="b5e592fb-fc8b-4323-a97d-691438b2e2da" providerId="ADAL" clId="{4E22EDF5-2883-5D57-B9C7-04E66950367B}" dt="2026-01-07T15:51:04.018" v="9791" actId="115"/>
          <ac:spMkLst>
            <pc:docMk/>
            <pc:sldMk cId="3521415279" sldId="2147483465"/>
            <ac:spMk id="4" creationId="{ABA04785-A63F-6691-2B48-B4F53AA32D45}"/>
          </ac:spMkLst>
        </pc:spChg>
        <pc:spChg chg="add mod">
          <ac:chgData name="Jan Cordtz" userId="b5e592fb-fc8b-4323-a97d-691438b2e2da" providerId="ADAL" clId="{4E22EDF5-2883-5D57-B9C7-04E66950367B}" dt="2025-12-18T15:59:55.213" v="6176"/>
          <ac:spMkLst>
            <pc:docMk/>
            <pc:sldMk cId="3521415279" sldId="2147483465"/>
            <ac:spMk id="21" creationId="{58791DC1-B8B9-61AF-021A-C2F8C2352173}"/>
          </ac:spMkLst>
        </pc:spChg>
        <pc:picChg chg="add mod">
          <ac:chgData name="Jan Cordtz" userId="b5e592fb-fc8b-4323-a97d-691438b2e2da" providerId="ADAL" clId="{4E22EDF5-2883-5D57-B9C7-04E66950367B}" dt="2025-12-18T15:26:38.327" v="5244" actId="1076"/>
          <ac:picMkLst>
            <pc:docMk/>
            <pc:sldMk cId="3521415279" sldId="2147483465"/>
            <ac:picMk id="3" creationId="{F6FFEBE3-744A-C674-74F9-68FE1C527A74}"/>
          </ac:picMkLst>
        </pc:picChg>
        <pc:cxnChg chg="add mod">
          <ac:chgData name="Jan Cordtz" userId="b5e592fb-fc8b-4323-a97d-691438b2e2da" providerId="ADAL" clId="{4E22EDF5-2883-5D57-B9C7-04E66950367B}" dt="2026-01-07T15:51:22.294" v="9794" actId="14100"/>
          <ac:cxnSpMkLst>
            <pc:docMk/>
            <pc:sldMk cId="3521415279" sldId="2147483465"/>
            <ac:cxnSpMk id="7" creationId="{C60F1B4A-E1DE-F576-DA95-8CE848B35CE6}"/>
          </ac:cxnSpMkLst>
        </pc:cxnChg>
        <pc:cxnChg chg="add mod">
          <ac:chgData name="Jan Cordtz" userId="b5e592fb-fc8b-4323-a97d-691438b2e2da" providerId="ADAL" clId="{4E22EDF5-2883-5D57-B9C7-04E66950367B}" dt="2026-01-07T15:51:19.733" v="9793" actId="692"/>
          <ac:cxnSpMkLst>
            <pc:docMk/>
            <pc:sldMk cId="3521415279" sldId="2147483465"/>
            <ac:cxnSpMk id="12" creationId="{1EDBB428-F12C-1E2A-E804-B33333535E08}"/>
          </ac:cxnSpMkLst>
        </pc:cxnChg>
      </pc:sldChg>
      <pc:sldChg chg="addSp delSp modSp add mod modClrScheme chgLayout">
        <pc:chgData name="Jan Cordtz" userId="b5e592fb-fc8b-4323-a97d-691438b2e2da" providerId="ADAL" clId="{4E22EDF5-2883-5D57-B9C7-04E66950367B}" dt="2026-01-12T15:45:42.298" v="18674" actId="700"/>
        <pc:sldMkLst>
          <pc:docMk/>
          <pc:sldMk cId="1176238442" sldId="2147483467"/>
        </pc:sldMkLst>
        <pc:spChg chg="mod">
          <ac:chgData name="Jan Cordtz" userId="b5e592fb-fc8b-4323-a97d-691438b2e2da" providerId="ADAL" clId="{4E22EDF5-2883-5D57-B9C7-04E66950367B}" dt="2026-01-07T15:52:22.103" v="9803" actId="115"/>
          <ac:spMkLst>
            <pc:docMk/>
            <pc:sldMk cId="1176238442" sldId="2147483467"/>
            <ac:spMk id="4" creationId="{ECBC5718-8391-A0F8-1531-C9E788E59066}"/>
          </ac:spMkLst>
        </pc:spChg>
        <pc:spChg chg="add mod">
          <ac:chgData name="Jan Cordtz" userId="b5e592fb-fc8b-4323-a97d-691438b2e2da" providerId="ADAL" clId="{4E22EDF5-2883-5D57-B9C7-04E66950367B}" dt="2025-12-18T15:59:59.068" v="6178"/>
          <ac:spMkLst>
            <pc:docMk/>
            <pc:sldMk cId="1176238442" sldId="2147483467"/>
            <ac:spMk id="52" creationId="{37C7CD84-058B-2ECD-AF66-81FA9C16455E}"/>
          </ac:spMkLst>
        </pc:spChg>
        <pc:picChg chg="add mod">
          <ac:chgData name="Jan Cordtz" userId="b5e592fb-fc8b-4323-a97d-691438b2e2da" providerId="ADAL" clId="{4E22EDF5-2883-5D57-B9C7-04E66950367B}" dt="2025-12-18T15:37:51.374" v="5425" actId="167"/>
          <ac:picMkLst>
            <pc:docMk/>
            <pc:sldMk cId="1176238442" sldId="2147483467"/>
            <ac:picMk id="6" creationId="{6E450826-B912-2572-F9EE-833A39BAF879}"/>
          </ac:picMkLst>
        </pc:picChg>
        <pc:picChg chg="add mod">
          <ac:chgData name="Jan Cordtz" userId="b5e592fb-fc8b-4323-a97d-691438b2e2da" providerId="ADAL" clId="{4E22EDF5-2883-5D57-B9C7-04E66950367B}" dt="2025-12-18T15:39:44.588" v="5552" actId="167"/>
          <ac:picMkLst>
            <pc:docMk/>
            <pc:sldMk cId="1176238442" sldId="2147483467"/>
            <ac:picMk id="11" creationId="{8014D748-9EC2-5B7F-EDA0-EE6CAA52628D}"/>
          </ac:picMkLst>
        </pc:picChg>
        <pc:cxnChg chg="mod">
          <ac:chgData name="Jan Cordtz" userId="b5e592fb-fc8b-4323-a97d-691438b2e2da" providerId="ADAL" clId="{4E22EDF5-2883-5D57-B9C7-04E66950367B}" dt="2026-01-07T15:51:47.687" v="9797" actId="692"/>
          <ac:cxnSpMkLst>
            <pc:docMk/>
            <pc:sldMk cId="1176238442" sldId="2147483467"/>
            <ac:cxnSpMk id="5" creationId="{28392ADA-CFF6-1D67-83C2-A3171402060E}"/>
          </ac:cxnSpMkLst>
        </pc:cxnChg>
        <pc:cxnChg chg="mod">
          <ac:chgData name="Jan Cordtz" userId="b5e592fb-fc8b-4323-a97d-691438b2e2da" providerId="ADAL" clId="{4E22EDF5-2883-5D57-B9C7-04E66950367B}" dt="2026-01-07T15:52:09.621" v="9801" actId="692"/>
          <ac:cxnSpMkLst>
            <pc:docMk/>
            <pc:sldMk cId="1176238442" sldId="2147483467"/>
            <ac:cxnSpMk id="7" creationId="{EBE4A36B-1DA3-D775-2927-FC4D441DF5EE}"/>
          </ac:cxnSpMkLst>
        </pc:cxnChg>
        <pc:cxnChg chg="add mod">
          <ac:chgData name="Jan Cordtz" userId="b5e592fb-fc8b-4323-a97d-691438b2e2da" providerId="ADAL" clId="{4E22EDF5-2883-5D57-B9C7-04E66950367B}" dt="2026-01-07T15:52:28.216" v="9804" actId="692"/>
          <ac:cxnSpMkLst>
            <pc:docMk/>
            <pc:sldMk cId="1176238442" sldId="2147483467"/>
            <ac:cxnSpMk id="13" creationId="{A673075B-3F3A-945A-9685-50CCB45F2BE7}"/>
          </ac:cxnSpMkLst>
        </pc:cxnChg>
        <pc:cxnChg chg="add mod">
          <ac:chgData name="Jan Cordtz" userId="b5e592fb-fc8b-4323-a97d-691438b2e2da" providerId="ADAL" clId="{4E22EDF5-2883-5D57-B9C7-04E66950367B}" dt="2025-12-18T15:44:49.814" v="5681" actId="14100"/>
          <ac:cxnSpMkLst>
            <pc:docMk/>
            <pc:sldMk cId="1176238442" sldId="2147483467"/>
            <ac:cxnSpMk id="38" creationId="{13BCF59E-A9AD-AC13-7601-98A101AE13F8}"/>
          </ac:cxnSpMkLst>
        </pc:cxnChg>
      </pc:sldChg>
      <pc:sldChg chg="modSp add mod modClrScheme chgLayout">
        <pc:chgData name="Jan Cordtz" userId="b5e592fb-fc8b-4323-a97d-691438b2e2da" providerId="ADAL" clId="{4E22EDF5-2883-5D57-B9C7-04E66950367B}" dt="2026-01-12T15:44:37.875" v="18670" actId="700"/>
        <pc:sldMkLst>
          <pc:docMk/>
          <pc:sldMk cId="3871891480" sldId="2147483468"/>
        </pc:sldMkLst>
        <pc:spChg chg="mod">
          <ac:chgData name="Jan Cordtz" userId="b5e592fb-fc8b-4323-a97d-691438b2e2da" providerId="ADAL" clId="{4E22EDF5-2883-5D57-B9C7-04E66950367B}" dt="2026-01-08T06:37:35.635" v="14456" actId="1076"/>
          <ac:spMkLst>
            <pc:docMk/>
            <pc:sldMk cId="3871891480" sldId="2147483468"/>
            <ac:spMk id="2" creationId="{A2156502-6885-BE78-9326-78C5FD91920C}"/>
          </ac:spMkLst>
        </pc:spChg>
      </pc:sldChg>
      <pc:sldChg chg="modSp add mod modClrScheme chgLayout">
        <pc:chgData name="Jan Cordtz" userId="b5e592fb-fc8b-4323-a97d-691438b2e2da" providerId="ADAL" clId="{4E22EDF5-2883-5D57-B9C7-04E66950367B}" dt="2026-01-12T15:44:37.875" v="18670" actId="700"/>
        <pc:sldMkLst>
          <pc:docMk/>
          <pc:sldMk cId="2769465756" sldId="2147483469"/>
        </pc:sldMkLst>
        <pc:spChg chg="mod">
          <ac:chgData name="Jan Cordtz" userId="b5e592fb-fc8b-4323-a97d-691438b2e2da" providerId="ADAL" clId="{4E22EDF5-2883-5D57-B9C7-04E66950367B}" dt="2026-01-08T06:37:50.211" v="14473" actId="113"/>
          <ac:spMkLst>
            <pc:docMk/>
            <pc:sldMk cId="2769465756" sldId="2147483469"/>
            <ac:spMk id="2" creationId="{30408898-E383-97C9-3033-0D616ED2F83A}"/>
          </ac:spMkLst>
        </pc:spChg>
      </pc:sldChg>
      <pc:sldChg chg="modSp add mod modClrScheme chgLayout">
        <pc:chgData name="Jan Cordtz" userId="b5e592fb-fc8b-4323-a97d-691438b2e2da" providerId="ADAL" clId="{4E22EDF5-2883-5D57-B9C7-04E66950367B}" dt="2026-01-12T15:44:37.875" v="18670" actId="700"/>
        <pc:sldMkLst>
          <pc:docMk/>
          <pc:sldMk cId="1347667463" sldId="2147483470"/>
        </pc:sldMkLst>
        <pc:spChg chg="mod">
          <ac:chgData name="Jan Cordtz" userId="b5e592fb-fc8b-4323-a97d-691438b2e2da" providerId="ADAL" clId="{4E22EDF5-2883-5D57-B9C7-04E66950367B}" dt="2026-01-08T06:38:09.357" v="14492" actId="20577"/>
          <ac:spMkLst>
            <pc:docMk/>
            <pc:sldMk cId="1347667463" sldId="2147483470"/>
            <ac:spMk id="2" creationId="{A3CCCCE6-E4E3-9DAA-10E7-F365CD814594}"/>
          </ac:spMkLst>
        </pc:spChg>
        <pc:spChg chg="mod">
          <ac:chgData name="Jan Cordtz" userId="b5e592fb-fc8b-4323-a97d-691438b2e2da" providerId="ADAL" clId="{4E22EDF5-2883-5D57-B9C7-04E66950367B}" dt="2026-01-08T08:07:26.727" v="14908" actId="20577"/>
          <ac:spMkLst>
            <pc:docMk/>
            <pc:sldMk cId="1347667463" sldId="2147483470"/>
            <ac:spMk id="4" creationId="{4F04B289-33BF-7402-B4F4-CC833BE390F3}"/>
          </ac:spMkLst>
        </pc:spChg>
      </pc:sldChg>
      <pc:sldChg chg="modSp add mod modClrScheme chgLayout">
        <pc:chgData name="Jan Cordtz" userId="b5e592fb-fc8b-4323-a97d-691438b2e2da" providerId="ADAL" clId="{4E22EDF5-2883-5D57-B9C7-04E66950367B}" dt="2026-01-12T15:44:37.875" v="18670" actId="700"/>
        <pc:sldMkLst>
          <pc:docMk/>
          <pc:sldMk cId="3671558223" sldId="2147483471"/>
        </pc:sldMkLst>
        <pc:spChg chg="mod">
          <ac:chgData name="Jan Cordtz" userId="b5e592fb-fc8b-4323-a97d-691438b2e2da" providerId="ADAL" clId="{4E22EDF5-2883-5D57-B9C7-04E66950367B}" dt="2026-01-08T06:38:26.676" v="14509" actId="113"/>
          <ac:spMkLst>
            <pc:docMk/>
            <pc:sldMk cId="3671558223" sldId="2147483471"/>
            <ac:spMk id="2" creationId="{4BD503AC-ADF5-C8A5-DDEA-3DBCABFC949B}"/>
          </ac:spMkLst>
        </pc:spChg>
        <pc:spChg chg="mod">
          <ac:chgData name="Jan Cordtz" userId="b5e592fb-fc8b-4323-a97d-691438b2e2da" providerId="ADAL" clId="{4E22EDF5-2883-5D57-B9C7-04E66950367B}" dt="2026-01-08T08:07:50.292" v="14913" actId="20577"/>
          <ac:spMkLst>
            <pc:docMk/>
            <pc:sldMk cId="3671558223" sldId="2147483471"/>
            <ac:spMk id="4" creationId="{B085F0B7-BF3E-DA3D-CCAD-6762E44121AD}"/>
          </ac:spMkLst>
        </pc:spChg>
      </pc:sldChg>
      <pc:sldChg chg="modSp add mod modClrScheme chgLayout">
        <pc:chgData name="Jan Cordtz" userId="b5e592fb-fc8b-4323-a97d-691438b2e2da" providerId="ADAL" clId="{4E22EDF5-2883-5D57-B9C7-04E66950367B}" dt="2026-01-12T15:44:37.875" v="18670" actId="700"/>
        <pc:sldMkLst>
          <pc:docMk/>
          <pc:sldMk cId="2959305215" sldId="2147483472"/>
        </pc:sldMkLst>
        <pc:spChg chg="mod">
          <ac:chgData name="Jan Cordtz" userId="b5e592fb-fc8b-4323-a97d-691438b2e2da" providerId="ADAL" clId="{4E22EDF5-2883-5D57-B9C7-04E66950367B}" dt="2026-01-08T06:38:39.381" v="14528" actId="113"/>
          <ac:spMkLst>
            <pc:docMk/>
            <pc:sldMk cId="2959305215" sldId="2147483472"/>
            <ac:spMk id="2" creationId="{CB8721B0-FBBC-719B-7AF6-7F530F3E32F9}"/>
          </ac:spMkLst>
        </pc:spChg>
      </pc:sldChg>
      <pc:sldChg chg="addSp delSp modSp add mod modClrScheme chgLayout">
        <pc:chgData name="Jan Cordtz" userId="b5e592fb-fc8b-4323-a97d-691438b2e2da" providerId="ADAL" clId="{4E22EDF5-2883-5D57-B9C7-04E66950367B}" dt="2026-01-12T15:45:50.044" v="18675" actId="700"/>
        <pc:sldMkLst>
          <pc:docMk/>
          <pc:sldMk cId="950581880" sldId="2147483473"/>
        </pc:sldMkLst>
        <pc:spChg chg="mod">
          <ac:chgData name="Jan Cordtz" userId="b5e592fb-fc8b-4323-a97d-691438b2e2da" providerId="ADAL" clId="{4E22EDF5-2883-5D57-B9C7-04E66950367B}" dt="2025-12-18T17:19:06.757" v="7957" actId="20577"/>
          <ac:spMkLst>
            <pc:docMk/>
            <pc:sldMk cId="950581880" sldId="2147483473"/>
            <ac:spMk id="2" creationId="{ABAD9441-3D41-8DFD-CBBF-355590D2FE1C}"/>
          </ac:spMkLst>
        </pc:spChg>
        <pc:spChg chg="mod">
          <ac:chgData name="Jan Cordtz" userId="b5e592fb-fc8b-4323-a97d-691438b2e2da" providerId="ADAL" clId="{4E22EDF5-2883-5D57-B9C7-04E66950367B}" dt="2026-01-07T15:57:58.329" v="9859" actId="20577"/>
          <ac:spMkLst>
            <pc:docMk/>
            <pc:sldMk cId="950581880" sldId="2147483473"/>
            <ac:spMk id="4" creationId="{631CD0AC-EFA0-3D78-7B95-530C1CA199CF}"/>
          </ac:spMkLst>
        </pc:spChg>
        <pc:spChg chg="add mod">
          <ac:chgData name="Jan Cordtz" userId="b5e592fb-fc8b-4323-a97d-691438b2e2da" providerId="ADAL" clId="{4E22EDF5-2883-5D57-B9C7-04E66950367B}" dt="2026-01-07T15:57:26.204" v="9851" actId="108"/>
          <ac:spMkLst>
            <pc:docMk/>
            <pc:sldMk cId="950581880" sldId="2147483473"/>
            <ac:spMk id="10" creationId="{902BB197-89D4-CF86-5A75-C4A8804654AF}"/>
          </ac:spMkLst>
        </pc:spChg>
        <pc:picChg chg="add mod">
          <ac:chgData name="Jan Cordtz" userId="b5e592fb-fc8b-4323-a97d-691438b2e2da" providerId="ADAL" clId="{4E22EDF5-2883-5D57-B9C7-04E66950367B}" dt="2025-12-18T16:20:54.826" v="6759" actId="167"/>
          <ac:picMkLst>
            <pc:docMk/>
            <pc:sldMk cId="950581880" sldId="2147483473"/>
            <ac:picMk id="3" creationId="{078F94DB-0D17-8979-3D3A-0F7BE5D00AC0}"/>
          </ac:picMkLst>
        </pc:picChg>
        <pc:cxnChg chg="mod">
          <ac:chgData name="Jan Cordtz" userId="b5e592fb-fc8b-4323-a97d-691438b2e2da" providerId="ADAL" clId="{4E22EDF5-2883-5D57-B9C7-04E66950367B}" dt="2026-01-07T15:58:10.902" v="9860" actId="692"/>
          <ac:cxnSpMkLst>
            <pc:docMk/>
            <pc:sldMk cId="950581880" sldId="2147483473"/>
            <ac:cxnSpMk id="5" creationId="{2745DC1E-822E-607B-00EB-CF4421105CEF}"/>
          </ac:cxnSpMkLst>
        </pc:cxnChg>
        <pc:cxnChg chg="add mod">
          <ac:chgData name="Jan Cordtz" userId="b5e592fb-fc8b-4323-a97d-691438b2e2da" providerId="ADAL" clId="{4E22EDF5-2883-5D57-B9C7-04E66950367B}" dt="2026-01-07T15:58:15.294" v="9861" actId="692"/>
          <ac:cxnSpMkLst>
            <pc:docMk/>
            <pc:sldMk cId="950581880" sldId="2147483473"/>
            <ac:cxnSpMk id="16" creationId="{F5473789-A625-6BA0-4EC6-D650272357C4}"/>
          </ac:cxnSpMkLst>
        </pc:cxnChg>
      </pc:sldChg>
      <pc:sldChg chg="addSp modSp add mod">
        <pc:chgData name="Jan Cordtz" userId="b5e592fb-fc8b-4323-a97d-691438b2e2da" providerId="ADAL" clId="{4E22EDF5-2883-5D57-B9C7-04E66950367B}" dt="2025-12-18T17:17:03.262" v="7903" actId="313"/>
        <pc:sldMkLst>
          <pc:docMk/>
          <pc:sldMk cId="78399798" sldId="2147483474"/>
        </pc:sldMkLst>
        <pc:spChg chg="mod">
          <ac:chgData name="Jan Cordtz" userId="b5e592fb-fc8b-4323-a97d-691438b2e2da" providerId="ADAL" clId="{4E22EDF5-2883-5D57-B9C7-04E66950367B}" dt="2025-12-18T17:17:03.262" v="7903" actId="313"/>
          <ac:spMkLst>
            <pc:docMk/>
            <pc:sldMk cId="78399798" sldId="2147483474"/>
            <ac:spMk id="2" creationId="{645CDEC2-F20B-8F59-A518-4BCC773549C9}"/>
          </ac:spMkLst>
        </pc:spChg>
        <pc:spChg chg="add mod">
          <ac:chgData name="Jan Cordtz" userId="b5e592fb-fc8b-4323-a97d-691438b2e2da" providerId="ADAL" clId="{4E22EDF5-2883-5D57-B9C7-04E66950367B}" dt="2025-12-18T16:18:30.284" v="6754"/>
          <ac:spMkLst>
            <pc:docMk/>
            <pc:sldMk cId="78399798" sldId="2147483474"/>
            <ac:spMk id="3" creationId="{CA20A0AB-27E2-1FF2-84A3-BED88FFACB35}"/>
          </ac:spMkLst>
        </pc:spChg>
      </pc:sldChg>
      <pc:sldChg chg="addSp delSp modSp add mod modClrScheme chgLayout">
        <pc:chgData name="Jan Cordtz" userId="b5e592fb-fc8b-4323-a97d-691438b2e2da" providerId="ADAL" clId="{4E22EDF5-2883-5D57-B9C7-04E66950367B}" dt="2026-01-12T15:45:50.044" v="18675" actId="700"/>
        <pc:sldMkLst>
          <pc:docMk/>
          <pc:sldMk cId="1237691320" sldId="2147483475"/>
        </pc:sldMkLst>
        <pc:spChg chg="mod">
          <ac:chgData name="Jan Cordtz" userId="b5e592fb-fc8b-4323-a97d-691438b2e2da" providerId="ADAL" clId="{4E22EDF5-2883-5D57-B9C7-04E66950367B}" dt="2026-01-07T15:58:34.575" v="9870" actId="20577"/>
          <ac:spMkLst>
            <pc:docMk/>
            <pc:sldMk cId="1237691320" sldId="2147483475"/>
            <ac:spMk id="4" creationId="{8DBE6989-D47F-729B-41E7-018A8F50D0DA}"/>
          </ac:spMkLst>
        </pc:spChg>
        <pc:picChg chg="add mod">
          <ac:chgData name="Jan Cordtz" userId="b5e592fb-fc8b-4323-a97d-691438b2e2da" providerId="ADAL" clId="{4E22EDF5-2883-5D57-B9C7-04E66950367B}" dt="2025-12-18T16:27:15.334" v="7191" actId="167"/>
          <ac:picMkLst>
            <pc:docMk/>
            <pc:sldMk cId="1237691320" sldId="2147483475"/>
            <ac:picMk id="7" creationId="{CBBBA298-DEC3-8A81-11EF-435D93C62010}"/>
          </ac:picMkLst>
        </pc:picChg>
        <pc:cxnChg chg="mod">
          <ac:chgData name="Jan Cordtz" userId="b5e592fb-fc8b-4323-a97d-691438b2e2da" providerId="ADAL" clId="{4E22EDF5-2883-5D57-B9C7-04E66950367B}" dt="2026-01-07T15:58:23.518" v="9862" actId="692"/>
          <ac:cxnSpMkLst>
            <pc:docMk/>
            <pc:sldMk cId="1237691320" sldId="2147483475"/>
            <ac:cxnSpMk id="16" creationId="{7BC48756-37B8-FC1B-D0B2-71C1CBDDA38E}"/>
          </ac:cxnSpMkLst>
        </pc:cxnChg>
      </pc:sldChg>
      <pc:sldChg chg="modSp add mod modClrScheme chgLayout">
        <pc:chgData name="Jan Cordtz" userId="b5e592fb-fc8b-4323-a97d-691438b2e2da" providerId="ADAL" clId="{4E22EDF5-2883-5D57-B9C7-04E66950367B}" dt="2026-01-12T15:45:50.044" v="18675" actId="700"/>
        <pc:sldMkLst>
          <pc:docMk/>
          <pc:sldMk cId="474862744" sldId="2147483479"/>
        </pc:sldMkLst>
        <pc:spChg chg="mod">
          <ac:chgData name="Jan Cordtz" userId="b5e592fb-fc8b-4323-a97d-691438b2e2da" providerId="ADAL" clId="{4E22EDF5-2883-5D57-B9C7-04E66950367B}" dt="2026-01-07T15:58:56.506" v="9877" actId="20577"/>
          <ac:spMkLst>
            <pc:docMk/>
            <pc:sldMk cId="474862744" sldId="2147483479"/>
            <ac:spMk id="4" creationId="{8C61062E-2C34-5E8B-F2A5-37A0F684773E}"/>
          </ac:spMkLst>
        </pc:spChg>
        <pc:cxnChg chg="mod">
          <ac:chgData name="Jan Cordtz" userId="b5e592fb-fc8b-4323-a97d-691438b2e2da" providerId="ADAL" clId="{4E22EDF5-2883-5D57-B9C7-04E66950367B}" dt="2026-01-07T15:58:53.864" v="9871" actId="692"/>
          <ac:cxnSpMkLst>
            <pc:docMk/>
            <pc:sldMk cId="474862744" sldId="2147483479"/>
            <ac:cxnSpMk id="16" creationId="{96489F9C-6AF1-6007-E898-2F53CE34541A}"/>
          </ac:cxnSpMkLst>
        </pc:cxnChg>
      </pc:sldChg>
      <pc:sldChg chg="addSp delSp modSp add mod modClrScheme chgLayout">
        <pc:chgData name="Jan Cordtz" userId="b5e592fb-fc8b-4323-a97d-691438b2e2da" providerId="ADAL" clId="{4E22EDF5-2883-5D57-B9C7-04E66950367B}" dt="2026-01-12T15:45:50.044" v="18675" actId="700"/>
        <pc:sldMkLst>
          <pc:docMk/>
          <pc:sldMk cId="563653922" sldId="2147483480"/>
        </pc:sldMkLst>
        <pc:spChg chg="mod">
          <ac:chgData name="Jan Cordtz" userId="b5e592fb-fc8b-4323-a97d-691438b2e2da" providerId="ADAL" clId="{4E22EDF5-2883-5D57-B9C7-04E66950367B}" dt="2026-01-07T15:59:56.070" v="9962" actId="20577"/>
          <ac:spMkLst>
            <pc:docMk/>
            <pc:sldMk cId="563653922" sldId="2147483480"/>
            <ac:spMk id="4" creationId="{9C4886EE-3124-F3A2-3896-842B7C76F79F}"/>
          </ac:spMkLst>
        </pc:spChg>
        <pc:picChg chg="add mod">
          <ac:chgData name="Jan Cordtz" userId="b5e592fb-fc8b-4323-a97d-691438b2e2da" providerId="ADAL" clId="{4E22EDF5-2883-5D57-B9C7-04E66950367B}" dt="2025-12-18T16:32:56.060" v="7449" actId="167"/>
          <ac:picMkLst>
            <pc:docMk/>
            <pc:sldMk cId="563653922" sldId="2147483480"/>
            <ac:picMk id="5" creationId="{768D4F36-4AF1-340E-BC80-72BE753C79F7}"/>
          </ac:picMkLst>
        </pc:picChg>
        <pc:cxnChg chg="mod">
          <ac:chgData name="Jan Cordtz" userId="b5e592fb-fc8b-4323-a97d-691438b2e2da" providerId="ADAL" clId="{4E22EDF5-2883-5D57-B9C7-04E66950367B}" dt="2026-01-07T15:59:10.263" v="9878" actId="692"/>
          <ac:cxnSpMkLst>
            <pc:docMk/>
            <pc:sldMk cId="563653922" sldId="2147483480"/>
            <ac:cxnSpMk id="16" creationId="{8C89163F-BF9E-6A46-80DB-D9E89BAF6395}"/>
          </ac:cxnSpMkLst>
        </pc:cxnChg>
      </pc:sldChg>
      <pc:sldChg chg="addSp delSp modSp add mod modClrScheme chgLayout">
        <pc:chgData name="Jan Cordtz" userId="b5e592fb-fc8b-4323-a97d-691438b2e2da" providerId="ADAL" clId="{4E22EDF5-2883-5D57-B9C7-04E66950367B}" dt="2026-01-12T15:45:50.044" v="18675" actId="700"/>
        <pc:sldMkLst>
          <pc:docMk/>
          <pc:sldMk cId="710504711" sldId="2147483481"/>
        </pc:sldMkLst>
        <pc:spChg chg="mod">
          <ac:chgData name="Jan Cordtz" userId="b5e592fb-fc8b-4323-a97d-691438b2e2da" providerId="ADAL" clId="{4E22EDF5-2883-5D57-B9C7-04E66950367B}" dt="2025-12-18T17:16:17.258" v="7888" actId="113"/>
          <ac:spMkLst>
            <pc:docMk/>
            <pc:sldMk cId="710504711" sldId="2147483481"/>
            <ac:spMk id="4" creationId="{0A9D13C2-6084-D903-3CAE-36359AAE6162}"/>
          </ac:spMkLst>
        </pc:spChg>
        <pc:picChg chg="add mod">
          <ac:chgData name="Jan Cordtz" userId="b5e592fb-fc8b-4323-a97d-691438b2e2da" providerId="ADAL" clId="{4E22EDF5-2883-5D57-B9C7-04E66950367B}" dt="2025-12-18T16:43:49.924" v="7540" actId="167"/>
          <ac:picMkLst>
            <pc:docMk/>
            <pc:sldMk cId="710504711" sldId="2147483481"/>
            <ac:picMk id="3" creationId="{3E594532-AD47-E1A2-9530-950526D002F0}"/>
          </ac:picMkLst>
        </pc:picChg>
        <pc:cxnChg chg="mod">
          <ac:chgData name="Jan Cordtz" userId="b5e592fb-fc8b-4323-a97d-691438b2e2da" providerId="ADAL" clId="{4E22EDF5-2883-5D57-B9C7-04E66950367B}" dt="2026-01-07T16:00:07.159" v="9963" actId="692"/>
          <ac:cxnSpMkLst>
            <pc:docMk/>
            <pc:sldMk cId="710504711" sldId="2147483481"/>
            <ac:cxnSpMk id="16" creationId="{B3BC76F1-DEDA-6F3A-AB0D-A8F24E85C64A}"/>
          </ac:cxnSpMkLst>
        </pc:cxnChg>
      </pc:sldChg>
      <pc:sldChg chg="addSp delSp modSp add mod modClrScheme chgLayout">
        <pc:chgData name="Jan Cordtz" userId="b5e592fb-fc8b-4323-a97d-691438b2e2da" providerId="ADAL" clId="{4E22EDF5-2883-5D57-B9C7-04E66950367B}" dt="2026-01-12T15:45:50.044" v="18675" actId="700"/>
        <pc:sldMkLst>
          <pc:docMk/>
          <pc:sldMk cId="3376099330" sldId="2147483482"/>
        </pc:sldMkLst>
        <pc:spChg chg="mod">
          <ac:chgData name="Jan Cordtz" userId="b5e592fb-fc8b-4323-a97d-691438b2e2da" providerId="ADAL" clId="{4E22EDF5-2883-5D57-B9C7-04E66950367B}" dt="2026-01-07T16:00:23.586" v="9965" actId="20577"/>
          <ac:spMkLst>
            <pc:docMk/>
            <pc:sldMk cId="3376099330" sldId="2147483482"/>
            <ac:spMk id="4" creationId="{ED2DBD4F-5C0D-F241-735E-3BF4455627A9}"/>
          </ac:spMkLst>
        </pc:spChg>
        <pc:picChg chg="add mod">
          <ac:chgData name="Jan Cordtz" userId="b5e592fb-fc8b-4323-a97d-691438b2e2da" providerId="ADAL" clId="{4E22EDF5-2883-5D57-B9C7-04E66950367B}" dt="2025-12-18T16:52:28.054" v="7591" actId="167"/>
          <ac:picMkLst>
            <pc:docMk/>
            <pc:sldMk cId="3376099330" sldId="2147483482"/>
            <ac:picMk id="5" creationId="{92C90199-FE3A-8DAA-E9A6-54C6797D0FC7}"/>
          </ac:picMkLst>
        </pc:picChg>
        <pc:cxnChg chg="mod">
          <ac:chgData name="Jan Cordtz" userId="b5e592fb-fc8b-4323-a97d-691438b2e2da" providerId="ADAL" clId="{4E22EDF5-2883-5D57-B9C7-04E66950367B}" dt="2026-01-07T16:00:13.412" v="9964" actId="692"/>
          <ac:cxnSpMkLst>
            <pc:docMk/>
            <pc:sldMk cId="3376099330" sldId="2147483482"/>
            <ac:cxnSpMk id="16" creationId="{7E10E420-BD71-C769-BB10-49A1C8B63FC9}"/>
          </ac:cxnSpMkLst>
        </pc:cxnChg>
      </pc:sldChg>
      <pc:sldChg chg="addSp delSp modSp add mod modClrScheme chgLayout">
        <pc:chgData name="Jan Cordtz" userId="b5e592fb-fc8b-4323-a97d-691438b2e2da" providerId="ADAL" clId="{4E22EDF5-2883-5D57-B9C7-04E66950367B}" dt="2026-01-12T15:45:50.044" v="18675" actId="700"/>
        <pc:sldMkLst>
          <pc:docMk/>
          <pc:sldMk cId="3559087897" sldId="2147483483"/>
        </pc:sldMkLst>
        <pc:spChg chg="mod">
          <ac:chgData name="Jan Cordtz" userId="b5e592fb-fc8b-4323-a97d-691438b2e2da" providerId="ADAL" clId="{4E22EDF5-2883-5D57-B9C7-04E66950367B}" dt="2025-12-18T17:16:03.012" v="7884" actId="113"/>
          <ac:spMkLst>
            <pc:docMk/>
            <pc:sldMk cId="3559087897" sldId="2147483483"/>
            <ac:spMk id="4" creationId="{45EF4A42-250B-8D90-8564-539A64AE89C6}"/>
          </ac:spMkLst>
        </pc:spChg>
        <pc:picChg chg="add mod">
          <ac:chgData name="Jan Cordtz" userId="b5e592fb-fc8b-4323-a97d-691438b2e2da" providerId="ADAL" clId="{4E22EDF5-2883-5D57-B9C7-04E66950367B}" dt="2025-12-18T17:15:09.696" v="7731" actId="167"/>
          <ac:picMkLst>
            <pc:docMk/>
            <pc:sldMk cId="3559087897" sldId="2147483483"/>
            <ac:picMk id="6" creationId="{507A15DF-F137-EAEE-3156-16902F7AC280}"/>
          </ac:picMkLst>
        </pc:picChg>
        <pc:cxnChg chg="mod">
          <ac:chgData name="Jan Cordtz" userId="b5e592fb-fc8b-4323-a97d-691438b2e2da" providerId="ADAL" clId="{4E22EDF5-2883-5D57-B9C7-04E66950367B}" dt="2026-01-07T16:00:40.148" v="9966" actId="692"/>
          <ac:cxnSpMkLst>
            <pc:docMk/>
            <pc:sldMk cId="3559087897" sldId="2147483483"/>
            <ac:cxnSpMk id="16" creationId="{FC2D481A-E8F5-481D-4EB7-F5BA92A1253E}"/>
          </ac:cxnSpMkLst>
        </pc:cxnChg>
      </pc:sldChg>
      <pc:sldChg chg="modSp add mod">
        <pc:chgData name="Jan Cordtz" userId="b5e592fb-fc8b-4323-a97d-691438b2e2da" providerId="ADAL" clId="{4E22EDF5-2883-5D57-B9C7-04E66950367B}" dt="2025-12-18T17:17:45.445" v="7919" actId="20577"/>
        <pc:sldMkLst>
          <pc:docMk/>
          <pc:sldMk cId="135536633" sldId="2147483484"/>
        </pc:sldMkLst>
        <pc:spChg chg="mod">
          <ac:chgData name="Jan Cordtz" userId="b5e592fb-fc8b-4323-a97d-691438b2e2da" providerId="ADAL" clId="{4E22EDF5-2883-5D57-B9C7-04E66950367B}" dt="2025-12-18T17:17:45.445" v="7919" actId="20577"/>
          <ac:spMkLst>
            <pc:docMk/>
            <pc:sldMk cId="135536633" sldId="2147483484"/>
            <ac:spMk id="2" creationId="{DE990B06-BA87-70F3-9BE9-0402FB2D18D5}"/>
          </ac:spMkLst>
        </pc:spChg>
      </pc:sldChg>
      <pc:sldChg chg="delSp modSp add mod modClrScheme chgLayout">
        <pc:chgData name="Jan Cordtz" userId="b5e592fb-fc8b-4323-a97d-691438b2e2da" providerId="ADAL" clId="{4E22EDF5-2883-5D57-B9C7-04E66950367B}" dt="2026-01-12T15:45:54.879" v="18676" actId="700"/>
        <pc:sldMkLst>
          <pc:docMk/>
          <pc:sldMk cId="2752390975" sldId="2147483485"/>
        </pc:sldMkLst>
        <pc:spChg chg="mod">
          <ac:chgData name="Jan Cordtz" userId="b5e592fb-fc8b-4323-a97d-691438b2e2da" providerId="ADAL" clId="{4E22EDF5-2883-5D57-B9C7-04E66950367B}" dt="2025-12-18T17:18:41.112" v="7950" actId="313"/>
          <ac:spMkLst>
            <pc:docMk/>
            <pc:sldMk cId="2752390975" sldId="2147483485"/>
            <ac:spMk id="2" creationId="{D4F5799C-76A5-9C6B-1DD5-295611AA716B}"/>
          </ac:spMkLst>
        </pc:spChg>
        <pc:spChg chg="mod">
          <ac:chgData name="Jan Cordtz" userId="b5e592fb-fc8b-4323-a97d-691438b2e2da" providerId="ADAL" clId="{4E22EDF5-2883-5D57-B9C7-04E66950367B}" dt="2026-01-07T16:00:54.742" v="9969" actId="20577"/>
          <ac:spMkLst>
            <pc:docMk/>
            <pc:sldMk cId="2752390975" sldId="2147483485"/>
            <ac:spMk id="4" creationId="{FCAB7D99-9572-C612-F38F-059C441C8955}"/>
          </ac:spMkLst>
        </pc:spChg>
        <pc:picChg chg="mod">
          <ac:chgData name="Jan Cordtz" userId="b5e592fb-fc8b-4323-a97d-691438b2e2da" providerId="ADAL" clId="{4E22EDF5-2883-5D57-B9C7-04E66950367B}" dt="2026-01-05T10:25:28.785" v="9050" actId="1076"/>
          <ac:picMkLst>
            <pc:docMk/>
            <pc:sldMk cId="2752390975" sldId="2147483485"/>
            <ac:picMk id="3" creationId="{6D7C48D7-02CB-1C99-8803-15F2296CAB27}"/>
          </ac:picMkLst>
        </pc:picChg>
      </pc:sldChg>
      <pc:sldChg chg="modSp add mod">
        <pc:chgData name="Jan Cordtz" userId="b5e592fb-fc8b-4323-a97d-691438b2e2da" providerId="ADAL" clId="{4E22EDF5-2883-5D57-B9C7-04E66950367B}" dt="2025-12-18T17:25:39.892" v="8589" actId="113"/>
        <pc:sldMkLst>
          <pc:docMk/>
          <pc:sldMk cId="1356501058" sldId="2147483486"/>
        </pc:sldMkLst>
        <pc:spChg chg="mod">
          <ac:chgData name="Jan Cordtz" userId="b5e592fb-fc8b-4323-a97d-691438b2e2da" providerId="ADAL" clId="{4E22EDF5-2883-5D57-B9C7-04E66950367B}" dt="2025-12-18T17:25:39.892" v="8589" actId="113"/>
          <ac:spMkLst>
            <pc:docMk/>
            <pc:sldMk cId="1356501058" sldId="2147483486"/>
            <ac:spMk id="2" creationId="{456EDDDD-F17B-25EA-5846-F4D092BE3F51}"/>
          </ac:spMkLst>
        </pc:spChg>
      </pc:sldChg>
      <pc:sldChg chg="addSp modSp new mod modClrScheme chgLayout">
        <pc:chgData name="Jan Cordtz" userId="b5e592fb-fc8b-4323-a97d-691438b2e2da" providerId="ADAL" clId="{4E22EDF5-2883-5D57-B9C7-04E66950367B}" dt="2026-01-12T15:44:37.875" v="18670" actId="700"/>
        <pc:sldMkLst>
          <pc:docMk/>
          <pc:sldMk cId="2619728106" sldId="2147483487"/>
        </pc:sldMkLst>
        <pc:spChg chg="add mod">
          <ac:chgData name="Jan Cordtz" userId="b5e592fb-fc8b-4323-a97d-691438b2e2da" providerId="ADAL" clId="{4E22EDF5-2883-5D57-B9C7-04E66950367B}" dt="2026-01-08T08:21:21.463" v="15704" actId="1076"/>
          <ac:spMkLst>
            <pc:docMk/>
            <pc:sldMk cId="2619728106" sldId="2147483487"/>
            <ac:spMk id="2" creationId="{8B59B24D-985E-ADD9-63E1-A35AF032CE04}"/>
          </ac:spMkLst>
        </pc:spChg>
        <pc:spChg chg="add mod">
          <ac:chgData name="Jan Cordtz" userId="b5e592fb-fc8b-4323-a97d-691438b2e2da" providerId="ADAL" clId="{4E22EDF5-2883-5D57-B9C7-04E66950367B}" dt="2026-01-08T06:29:12.631" v="14084" actId="1076"/>
          <ac:spMkLst>
            <pc:docMk/>
            <pc:sldMk cId="2619728106" sldId="2147483487"/>
            <ac:spMk id="3" creationId="{E01C68CA-ABA9-91C8-548B-53E02F098189}"/>
          </ac:spMkLst>
        </pc:spChg>
      </pc:sldChg>
      <pc:sldChg chg="modSp add mod">
        <pc:chgData name="Jan Cordtz" userId="b5e592fb-fc8b-4323-a97d-691438b2e2da" providerId="ADAL" clId="{4E22EDF5-2883-5D57-B9C7-04E66950367B}" dt="2026-01-09T17:02:52.221" v="18529" actId="20577"/>
        <pc:sldMkLst>
          <pc:docMk/>
          <pc:sldMk cId="1453008010" sldId="2147483488"/>
        </pc:sldMkLst>
        <pc:spChg chg="mod">
          <ac:chgData name="Jan Cordtz" userId="b5e592fb-fc8b-4323-a97d-691438b2e2da" providerId="ADAL" clId="{4E22EDF5-2883-5D57-B9C7-04E66950367B}" dt="2026-01-09T17:02:52.221" v="18529" actId="20577"/>
          <ac:spMkLst>
            <pc:docMk/>
            <pc:sldMk cId="1453008010" sldId="2147483488"/>
            <ac:spMk id="2" creationId="{5630D372-385B-4B6D-0797-D574893B67DB}"/>
          </ac:spMkLst>
        </pc:spChg>
      </pc:sldChg>
      <pc:sldChg chg="modSp add mod">
        <pc:chgData name="Jan Cordtz" userId="b5e592fb-fc8b-4323-a97d-691438b2e2da" providerId="ADAL" clId="{4E22EDF5-2883-5D57-B9C7-04E66950367B}" dt="2025-12-18T17:29:52.844" v="8764" actId="14100"/>
        <pc:sldMkLst>
          <pc:docMk/>
          <pc:sldMk cId="3534346563" sldId="2147483489"/>
        </pc:sldMkLst>
        <pc:spChg chg="mod">
          <ac:chgData name="Jan Cordtz" userId="b5e592fb-fc8b-4323-a97d-691438b2e2da" providerId="ADAL" clId="{4E22EDF5-2883-5D57-B9C7-04E66950367B}" dt="2025-12-18T17:29:52.844" v="8764" actId="14100"/>
          <ac:spMkLst>
            <pc:docMk/>
            <pc:sldMk cId="3534346563" sldId="2147483489"/>
            <ac:spMk id="2" creationId="{A2039725-BF3F-E2DE-64B9-DB998EEDD504}"/>
          </ac:spMkLst>
        </pc:spChg>
      </pc:sldChg>
      <pc:sldChg chg="modSp add del mod ord">
        <pc:chgData name="Jan Cordtz" userId="b5e592fb-fc8b-4323-a97d-691438b2e2da" providerId="ADAL" clId="{4E22EDF5-2883-5D57-B9C7-04E66950367B}" dt="2026-01-12T15:46:57.302" v="18684" actId="2696"/>
        <pc:sldMkLst>
          <pc:docMk/>
          <pc:sldMk cId="997071707" sldId="2147483490"/>
        </pc:sldMkLst>
      </pc:sldChg>
      <pc:sldChg chg="add">
        <pc:chgData name="Jan Cordtz" userId="b5e592fb-fc8b-4323-a97d-691438b2e2da" providerId="ADAL" clId="{4E22EDF5-2883-5D57-B9C7-04E66950367B}" dt="2026-01-12T15:47:03.562" v="18685"/>
        <pc:sldMkLst>
          <pc:docMk/>
          <pc:sldMk cId="2231082068" sldId="2147483490"/>
        </pc:sldMkLst>
      </pc:sldChg>
      <pc:sldChg chg="addSp modSp new mod modClrScheme chgLayout">
        <pc:chgData name="Jan Cordtz" userId="b5e592fb-fc8b-4323-a97d-691438b2e2da" providerId="ADAL" clId="{4E22EDF5-2883-5D57-B9C7-04E66950367B}" dt="2026-01-12T15:46:02.381" v="18677" actId="700"/>
        <pc:sldMkLst>
          <pc:docMk/>
          <pc:sldMk cId="171348193" sldId="2147483491"/>
        </pc:sldMkLst>
        <pc:spChg chg="add mod">
          <ac:chgData name="Jan Cordtz" userId="b5e592fb-fc8b-4323-a97d-691438b2e2da" providerId="ADAL" clId="{4E22EDF5-2883-5D57-B9C7-04E66950367B}" dt="2026-01-07T16:02:22.974" v="9999" actId="20577"/>
          <ac:spMkLst>
            <pc:docMk/>
            <pc:sldMk cId="171348193" sldId="2147483491"/>
            <ac:spMk id="3" creationId="{722AD3A8-3163-A7C2-E581-69BA6271AE34}"/>
          </ac:spMkLst>
        </pc:spChg>
        <pc:spChg chg="add mod">
          <ac:chgData name="Jan Cordtz" userId="b5e592fb-fc8b-4323-a97d-691438b2e2da" providerId="ADAL" clId="{4E22EDF5-2883-5D57-B9C7-04E66950367B}" dt="2026-01-07T16:06:38.801" v="10261" actId="1076"/>
          <ac:spMkLst>
            <pc:docMk/>
            <pc:sldMk cId="171348193" sldId="2147483491"/>
            <ac:spMk id="4" creationId="{BC2E6660-07FF-23D7-BB97-B02DACE1C22A}"/>
          </ac:spMkLst>
        </pc:spChg>
        <pc:picChg chg="add mod">
          <ac:chgData name="Jan Cordtz" userId="b5e592fb-fc8b-4323-a97d-691438b2e2da" providerId="ADAL" clId="{4E22EDF5-2883-5D57-B9C7-04E66950367B}" dt="2026-01-07T16:01:48.177" v="9972" actId="1076"/>
          <ac:picMkLst>
            <pc:docMk/>
            <pc:sldMk cId="171348193" sldId="2147483491"/>
            <ac:picMk id="2" creationId="{0D2344F6-6D55-22EF-FF2E-33723144C1B1}"/>
          </ac:picMkLst>
        </pc:picChg>
        <pc:cxnChg chg="add mod">
          <ac:chgData name="Jan Cordtz" userId="b5e592fb-fc8b-4323-a97d-691438b2e2da" providerId="ADAL" clId="{4E22EDF5-2883-5D57-B9C7-04E66950367B}" dt="2026-01-07T16:07:01.164" v="10267" actId="14100"/>
          <ac:cxnSpMkLst>
            <pc:docMk/>
            <pc:sldMk cId="171348193" sldId="2147483491"/>
            <ac:cxnSpMk id="5" creationId="{530C4EAB-9CCB-C337-2D7F-32ECCAEA3EEF}"/>
          </ac:cxnSpMkLst>
        </pc:cxnChg>
        <pc:cxnChg chg="add mod">
          <ac:chgData name="Jan Cordtz" userId="b5e592fb-fc8b-4323-a97d-691438b2e2da" providerId="ADAL" clId="{4E22EDF5-2883-5D57-B9C7-04E66950367B}" dt="2026-01-07T16:06:53.566" v="10265" actId="14100"/>
          <ac:cxnSpMkLst>
            <pc:docMk/>
            <pc:sldMk cId="171348193" sldId="2147483491"/>
            <ac:cxnSpMk id="9" creationId="{C637B2D1-7F2D-12DD-B31F-C12A82A71B3A}"/>
          </ac:cxnSpMkLst>
        </pc:cxnChg>
        <pc:cxnChg chg="add mod">
          <ac:chgData name="Jan Cordtz" userId="b5e592fb-fc8b-4323-a97d-691438b2e2da" providerId="ADAL" clId="{4E22EDF5-2883-5D57-B9C7-04E66950367B}" dt="2026-01-07T16:06:46.163" v="10263" actId="14100"/>
          <ac:cxnSpMkLst>
            <pc:docMk/>
            <pc:sldMk cId="171348193" sldId="2147483491"/>
            <ac:cxnSpMk id="12" creationId="{2BA9EC06-47C5-51FE-A977-5CEA469CB345}"/>
          </ac:cxnSpMkLst>
        </pc:cxnChg>
      </pc:sldChg>
      <pc:sldChg chg="addSp modSp new mod modClrScheme chgLayout">
        <pc:chgData name="Jan Cordtz" userId="b5e592fb-fc8b-4323-a97d-691438b2e2da" providerId="ADAL" clId="{4E22EDF5-2883-5D57-B9C7-04E66950367B}" dt="2026-01-12T15:46:08.395" v="18678" actId="700"/>
        <pc:sldMkLst>
          <pc:docMk/>
          <pc:sldMk cId="1214633433" sldId="2147483492"/>
        </pc:sldMkLst>
        <pc:spChg chg="add mod">
          <ac:chgData name="Jan Cordtz" userId="b5e592fb-fc8b-4323-a97d-691438b2e2da" providerId="ADAL" clId="{4E22EDF5-2883-5D57-B9C7-04E66950367B}" dt="2026-01-07T16:22:42.286" v="11253" actId="108"/>
          <ac:spMkLst>
            <pc:docMk/>
            <pc:sldMk cId="1214633433" sldId="2147483492"/>
            <ac:spMk id="3" creationId="{0B9B4D5B-2C40-2EF1-6DC5-776918281B6E}"/>
          </ac:spMkLst>
        </pc:spChg>
        <pc:spChg chg="add mod">
          <ac:chgData name="Jan Cordtz" userId="b5e592fb-fc8b-4323-a97d-691438b2e2da" providerId="ADAL" clId="{4E22EDF5-2883-5D57-B9C7-04E66950367B}" dt="2026-01-07T16:17:54.004" v="10993" actId="1076"/>
          <ac:spMkLst>
            <pc:docMk/>
            <pc:sldMk cId="1214633433" sldId="2147483492"/>
            <ac:spMk id="4" creationId="{FCCDCA1F-6801-E346-2200-A686E8CB0372}"/>
          </ac:spMkLst>
        </pc:spChg>
        <pc:spChg chg="add mod">
          <ac:chgData name="Jan Cordtz" userId="b5e592fb-fc8b-4323-a97d-691438b2e2da" providerId="ADAL" clId="{4E22EDF5-2883-5D57-B9C7-04E66950367B}" dt="2026-01-07T16:21:33.649" v="11221" actId="20577"/>
          <ac:spMkLst>
            <pc:docMk/>
            <pc:sldMk cId="1214633433" sldId="2147483492"/>
            <ac:spMk id="5" creationId="{A3F56CEB-3081-FC5B-9314-9EA7A138D8DE}"/>
          </ac:spMkLst>
        </pc:spChg>
        <pc:picChg chg="add mod">
          <ac:chgData name="Jan Cordtz" userId="b5e592fb-fc8b-4323-a97d-691438b2e2da" providerId="ADAL" clId="{4E22EDF5-2883-5D57-B9C7-04E66950367B}" dt="2026-01-07T16:10:00.409" v="10270" actId="1076"/>
          <ac:picMkLst>
            <pc:docMk/>
            <pc:sldMk cId="1214633433" sldId="2147483492"/>
            <ac:picMk id="2" creationId="{9A465155-77E1-375E-BFC9-73AD49632043}"/>
          </ac:picMkLst>
        </pc:picChg>
        <pc:cxnChg chg="add mod">
          <ac:chgData name="Jan Cordtz" userId="b5e592fb-fc8b-4323-a97d-691438b2e2da" providerId="ADAL" clId="{4E22EDF5-2883-5D57-B9C7-04E66950367B}" dt="2026-01-07T16:17:59.458" v="10994" actId="14100"/>
          <ac:cxnSpMkLst>
            <pc:docMk/>
            <pc:sldMk cId="1214633433" sldId="2147483492"/>
            <ac:cxnSpMk id="6" creationId="{19AB92A1-EA80-5E8C-5A3F-0F1899966873}"/>
          </ac:cxnSpMkLst>
        </pc:cxnChg>
      </pc:sldChg>
      <pc:sldChg chg="addSp modSp new mod modClrScheme chgLayout">
        <pc:chgData name="Jan Cordtz" userId="b5e592fb-fc8b-4323-a97d-691438b2e2da" providerId="ADAL" clId="{4E22EDF5-2883-5D57-B9C7-04E66950367B}" dt="2026-01-12T15:46:08.395" v="18678" actId="700"/>
        <pc:sldMkLst>
          <pc:docMk/>
          <pc:sldMk cId="766010275" sldId="2147483493"/>
        </pc:sldMkLst>
        <pc:spChg chg="add mod">
          <ac:chgData name="Jan Cordtz" userId="b5e592fb-fc8b-4323-a97d-691438b2e2da" providerId="ADAL" clId="{4E22EDF5-2883-5D57-B9C7-04E66950367B}" dt="2026-01-07T16:26:23.221" v="11455" actId="313"/>
          <ac:spMkLst>
            <pc:docMk/>
            <pc:sldMk cId="766010275" sldId="2147483493"/>
            <ac:spMk id="3" creationId="{D5D10D61-7D11-C578-E60F-2B9FEAE0069B}"/>
          </ac:spMkLst>
        </pc:spChg>
        <pc:spChg chg="add mod">
          <ac:chgData name="Jan Cordtz" userId="b5e592fb-fc8b-4323-a97d-691438b2e2da" providerId="ADAL" clId="{4E22EDF5-2883-5D57-B9C7-04E66950367B}" dt="2026-01-07T16:23:31.558" v="11298" actId="108"/>
          <ac:spMkLst>
            <pc:docMk/>
            <pc:sldMk cId="766010275" sldId="2147483493"/>
            <ac:spMk id="4" creationId="{6BD48A70-4FB0-C6A4-F222-039FBEF45019}"/>
          </ac:spMkLst>
        </pc:spChg>
        <pc:picChg chg="add mod">
          <ac:chgData name="Jan Cordtz" userId="b5e592fb-fc8b-4323-a97d-691438b2e2da" providerId="ADAL" clId="{4E22EDF5-2883-5D57-B9C7-04E66950367B}" dt="2026-01-07T16:10:38.699" v="10273" actId="1076"/>
          <ac:picMkLst>
            <pc:docMk/>
            <pc:sldMk cId="766010275" sldId="2147483493"/>
            <ac:picMk id="2" creationId="{4AA4C90E-F347-D14B-D794-021655B08818}"/>
          </ac:picMkLst>
        </pc:picChg>
      </pc:sldChg>
      <pc:sldChg chg="addSp modSp new mod modClrScheme chgLayout">
        <pc:chgData name="Jan Cordtz" userId="b5e592fb-fc8b-4323-a97d-691438b2e2da" providerId="ADAL" clId="{4E22EDF5-2883-5D57-B9C7-04E66950367B}" dt="2026-01-12T15:46:08.395" v="18678" actId="700"/>
        <pc:sldMkLst>
          <pc:docMk/>
          <pc:sldMk cId="3491890925" sldId="2147483494"/>
        </pc:sldMkLst>
        <pc:spChg chg="add mod">
          <ac:chgData name="Jan Cordtz" userId="b5e592fb-fc8b-4323-a97d-691438b2e2da" providerId="ADAL" clId="{4E22EDF5-2883-5D57-B9C7-04E66950367B}" dt="2026-01-07T16:30:05.470" v="11702" actId="20577"/>
          <ac:spMkLst>
            <pc:docMk/>
            <pc:sldMk cId="3491890925" sldId="2147483494"/>
            <ac:spMk id="3" creationId="{04773D2B-0455-353E-0F4B-4ACE70F269D8}"/>
          </ac:spMkLst>
        </pc:spChg>
        <pc:spChg chg="add mod">
          <ac:chgData name="Jan Cordtz" userId="b5e592fb-fc8b-4323-a97d-691438b2e2da" providerId="ADAL" clId="{4E22EDF5-2883-5D57-B9C7-04E66950367B}" dt="2026-01-07T16:26:55.341" v="11472" actId="20577"/>
          <ac:spMkLst>
            <pc:docMk/>
            <pc:sldMk cId="3491890925" sldId="2147483494"/>
            <ac:spMk id="4" creationId="{59619B28-A09B-D167-DFCA-3E39EBF774B7}"/>
          </ac:spMkLst>
        </pc:spChg>
        <pc:picChg chg="add mod">
          <ac:chgData name="Jan Cordtz" userId="b5e592fb-fc8b-4323-a97d-691438b2e2da" providerId="ADAL" clId="{4E22EDF5-2883-5D57-B9C7-04E66950367B}" dt="2026-01-07T16:11:31.498" v="10276" actId="1076"/>
          <ac:picMkLst>
            <pc:docMk/>
            <pc:sldMk cId="3491890925" sldId="2147483494"/>
            <ac:picMk id="2" creationId="{757B7A2B-E760-97C6-889E-CE7FE7EF2999}"/>
          </ac:picMkLst>
        </pc:picChg>
      </pc:sldChg>
      <pc:sldChg chg="addSp modSp new mod modClrScheme chgLayout">
        <pc:chgData name="Jan Cordtz" userId="b5e592fb-fc8b-4323-a97d-691438b2e2da" providerId="ADAL" clId="{4E22EDF5-2883-5D57-B9C7-04E66950367B}" dt="2026-01-12T15:46:08.395" v="18678" actId="700"/>
        <pc:sldMkLst>
          <pc:docMk/>
          <pc:sldMk cId="4220055883" sldId="2147483495"/>
        </pc:sldMkLst>
        <pc:spChg chg="add mod">
          <ac:chgData name="Jan Cordtz" userId="b5e592fb-fc8b-4323-a97d-691438b2e2da" providerId="ADAL" clId="{4E22EDF5-2883-5D57-B9C7-04E66950367B}" dt="2026-01-07T16:32:08.537" v="11944" actId="1076"/>
          <ac:spMkLst>
            <pc:docMk/>
            <pc:sldMk cId="4220055883" sldId="2147483495"/>
            <ac:spMk id="3" creationId="{DF3707E7-8F6C-592A-9A19-8F27C622D96A}"/>
          </ac:spMkLst>
        </pc:spChg>
        <pc:spChg chg="add mod">
          <ac:chgData name="Jan Cordtz" userId="b5e592fb-fc8b-4323-a97d-691438b2e2da" providerId="ADAL" clId="{4E22EDF5-2883-5D57-B9C7-04E66950367B}" dt="2026-01-07T16:32:24.887" v="11952" actId="20577"/>
          <ac:spMkLst>
            <pc:docMk/>
            <pc:sldMk cId="4220055883" sldId="2147483495"/>
            <ac:spMk id="4" creationId="{0DD45E87-B24A-9187-6A8B-1AD4DFD3C7D0}"/>
          </ac:spMkLst>
        </pc:spChg>
        <pc:picChg chg="add mod">
          <ac:chgData name="Jan Cordtz" userId="b5e592fb-fc8b-4323-a97d-691438b2e2da" providerId="ADAL" clId="{4E22EDF5-2883-5D57-B9C7-04E66950367B}" dt="2026-01-07T16:12:01.186" v="10279" actId="1076"/>
          <ac:picMkLst>
            <pc:docMk/>
            <pc:sldMk cId="4220055883" sldId="2147483495"/>
            <ac:picMk id="2" creationId="{0F034051-7576-1CD0-F903-0A83A7F941AF}"/>
          </ac:picMkLst>
        </pc:picChg>
      </pc:sldChg>
      <pc:sldChg chg="addSp modSp new mod modClrScheme chgLayout">
        <pc:chgData name="Jan Cordtz" userId="b5e592fb-fc8b-4323-a97d-691438b2e2da" providerId="ADAL" clId="{4E22EDF5-2883-5D57-B9C7-04E66950367B}" dt="2026-01-12T15:46:14.868" v="18679" actId="700"/>
        <pc:sldMkLst>
          <pc:docMk/>
          <pc:sldMk cId="4292431923" sldId="2147483496"/>
        </pc:sldMkLst>
        <pc:spChg chg="add mod">
          <ac:chgData name="Jan Cordtz" userId="b5e592fb-fc8b-4323-a97d-691438b2e2da" providerId="ADAL" clId="{4E22EDF5-2883-5D57-B9C7-04E66950367B}" dt="2026-01-07T16:42:12.769" v="12382" actId="20577"/>
          <ac:spMkLst>
            <pc:docMk/>
            <pc:sldMk cId="4292431923" sldId="2147483496"/>
            <ac:spMk id="3" creationId="{4D0359E5-35DA-A07B-74CB-7E67565D5189}"/>
          </ac:spMkLst>
        </pc:spChg>
        <pc:spChg chg="add mod">
          <ac:chgData name="Jan Cordtz" userId="b5e592fb-fc8b-4323-a97d-691438b2e2da" providerId="ADAL" clId="{4E22EDF5-2883-5D57-B9C7-04E66950367B}" dt="2026-01-07T16:45:19.686" v="12707" actId="113"/>
          <ac:spMkLst>
            <pc:docMk/>
            <pc:sldMk cId="4292431923" sldId="2147483496"/>
            <ac:spMk id="4" creationId="{B4E77F0C-9B81-E25D-CDBE-16E5BB1B4645}"/>
          </ac:spMkLst>
        </pc:spChg>
        <pc:picChg chg="add mod">
          <ac:chgData name="Jan Cordtz" userId="b5e592fb-fc8b-4323-a97d-691438b2e2da" providerId="ADAL" clId="{4E22EDF5-2883-5D57-B9C7-04E66950367B}" dt="2026-01-07T16:36:53.266" v="12009" actId="1076"/>
          <ac:picMkLst>
            <pc:docMk/>
            <pc:sldMk cId="4292431923" sldId="2147483496"/>
            <ac:picMk id="2" creationId="{E2C885E6-C6C8-0DDD-68CE-0A0EF28D75DE}"/>
          </ac:picMkLst>
        </pc:picChg>
      </pc:sldChg>
      <pc:sldChg chg="addSp modSp new mod modClrScheme chgLayout">
        <pc:chgData name="Jan Cordtz" userId="b5e592fb-fc8b-4323-a97d-691438b2e2da" providerId="ADAL" clId="{4E22EDF5-2883-5D57-B9C7-04E66950367B}" dt="2026-01-12T15:46:14.868" v="18679" actId="700"/>
        <pc:sldMkLst>
          <pc:docMk/>
          <pc:sldMk cId="296453709" sldId="2147483497"/>
        </pc:sldMkLst>
        <pc:spChg chg="add mod">
          <ac:chgData name="Jan Cordtz" userId="b5e592fb-fc8b-4323-a97d-691438b2e2da" providerId="ADAL" clId="{4E22EDF5-2883-5D57-B9C7-04E66950367B}" dt="2026-01-07T16:45:59.857" v="12780" actId="20577"/>
          <ac:spMkLst>
            <pc:docMk/>
            <pc:sldMk cId="296453709" sldId="2147483497"/>
            <ac:spMk id="3" creationId="{F4277694-F41F-427D-77F3-FAFCB44227F2}"/>
          </ac:spMkLst>
        </pc:spChg>
        <pc:spChg chg="add mod">
          <ac:chgData name="Jan Cordtz" userId="b5e592fb-fc8b-4323-a97d-691438b2e2da" providerId="ADAL" clId="{4E22EDF5-2883-5D57-B9C7-04E66950367B}" dt="2026-01-07T16:51:57.997" v="13206" actId="20577"/>
          <ac:spMkLst>
            <pc:docMk/>
            <pc:sldMk cId="296453709" sldId="2147483497"/>
            <ac:spMk id="4" creationId="{A303B7E0-A09A-EA9A-C1AE-F1503BAA7465}"/>
          </ac:spMkLst>
        </pc:spChg>
        <pc:picChg chg="add mod">
          <ac:chgData name="Jan Cordtz" userId="b5e592fb-fc8b-4323-a97d-691438b2e2da" providerId="ADAL" clId="{4E22EDF5-2883-5D57-B9C7-04E66950367B}" dt="2026-01-07T16:34:44.580" v="11958" actId="1076"/>
          <ac:picMkLst>
            <pc:docMk/>
            <pc:sldMk cId="296453709" sldId="2147483497"/>
            <ac:picMk id="2" creationId="{16A46137-DF5F-C2D7-639A-58FFF3B14FCB}"/>
          </ac:picMkLst>
        </pc:picChg>
        <pc:cxnChg chg="add mod">
          <ac:chgData name="Jan Cordtz" userId="b5e592fb-fc8b-4323-a97d-691438b2e2da" providerId="ADAL" clId="{4E22EDF5-2883-5D57-B9C7-04E66950367B}" dt="2026-01-07T16:51:38.324" v="13203" actId="14100"/>
          <ac:cxnSpMkLst>
            <pc:docMk/>
            <pc:sldMk cId="296453709" sldId="2147483497"/>
            <ac:cxnSpMk id="5" creationId="{45540779-9EE4-4099-D66C-CA33FA7357C1}"/>
          </ac:cxnSpMkLst>
        </pc:cxnChg>
      </pc:sldChg>
      <pc:sldChg chg="addSp modSp new mod">
        <pc:chgData name="Jan Cordtz" userId="b5e592fb-fc8b-4323-a97d-691438b2e2da" providerId="ADAL" clId="{4E22EDF5-2883-5D57-B9C7-04E66950367B}" dt="2026-01-07T16:36:24.227" v="11991" actId="1076"/>
        <pc:sldMkLst>
          <pc:docMk/>
          <pc:sldMk cId="306284338" sldId="2147483500"/>
        </pc:sldMkLst>
        <pc:spChg chg="add mod">
          <ac:chgData name="Jan Cordtz" userId="b5e592fb-fc8b-4323-a97d-691438b2e2da" providerId="ADAL" clId="{4E22EDF5-2883-5D57-B9C7-04E66950367B}" dt="2026-01-07T16:36:24.227" v="11991" actId="1076"/>
          <ac:spMkLst>
            <pc:docMk/>
            <pc:sldMk cId="306284338" sldId="2147483500"/>
            <ac:spMk id="2" creationId="{0EDF607C-124A-F6D0-EA2A-05476FE54AFC}"/>
          </ac:spMkLst>
        </pc:spChg>
      </pc:sldChg>
      <pc:sldChg chg="modSp add mod">
        <pc:chgData name="Jan Cordtz" userId="b5e592fb-fc8b-4323-a97d-691438b2e2da" providerId="ADAL" clId="{4E22EDF5-2883-5D57-B9C7-04E66950367B}" dt="2026-01-07T16:36:44.433" v="12008" actId="20577"/>
        <pc:sldMkLst>
          <pc:docMk/>
          <pc:sldMk cId="847958236" sldId="2147483501"/>
        </pc:sldMkLst>
        <pc:spChg chg="mod">
          <ac:chgData name="Jan Cordtz" userId="b5e592fb-fc8b-4323-a97d-691438b2e2da" providerId="ADAL" clId="{4E22EDF5-2883-5D57-B9C7-04E66950367B}" dt="2026-01-07T16:36:44.433" v="12008" actId="20577"/>
          <ac:spMkLst>
            <pc:docMk/>
            <pc:sldMk cId="847958236" sldId="2147483501"/>
            <ac:spMk id="2" creationId="{E31F19E7-3263-C062-7143-1F5770228FA9}"/>
          </ac:spMkLst>
        </pc:spChg>
      </pc:sldChg>
      <pc:sldChg chg="addSp modSp new mod modClrScheme chgLayout">
        <pc:chgData name="Jan Cordtz" userId="b5e592fb-fc8b-4323-a97d-691438b2e2da" providerId="ADAL" clId="{4E22EDF5-2883-5D57-B9C7-04E66950367B}" dt="2026-01-12T15:46:14.868" v="18679" actId="700"/>
        <pc:sldMkLst>
          <pc:docMk/>
          <pc:sldMk cId="2567728905" sldId="2147483502"/>
        </pc:sldMkLst>
        <pc:spChg chg="add mod">
          <ac:chgData name="Jan Cordtz" userId="b5e592fb-fc8b-4323-a97d-691438b2e2da" providerId="ADAL" clId="{4E22EDF5-2883-5D57-B9C7-04E66950367B}" dt="2026-01-07T16:38:36.950" v="12088" actId="20577"/>
          <ac:spMkLst>
            <pc:docMk/>
            <pc:sldMk cId="2567728905" sldId="2147483502"/>
            <ac:spMk id="3" creationId="{E8D12EED-CFA8-A6BF-02E5-C51A8DCCBD39}"/>
          </ac:spMkLst>
        </pc:spChg>
        <pc:spChg chg="add mod">
          <ac:chgData name="Jan Cordtz" userId="b5e592fb-fc8b-4323-a97d-691438b2e2da" providerId="ADAL" clId="{4E22EDF5-2883-5D57-B9C7-04E66950367B}" dt="2026-01-07T16:41:30.562" v="12373" actId="113"/>
          <ac:spMkLst>
            <pc:docMk/>
            <pc:sldMk cId="2567728905" sldId="2147483502"/>
            <ac:spMk id="4" creationId="{A8074C88-993F-5109-6AC1-81AA80EF6976}"/>
          </ac:spMkLst>
        </pc:spChg>
        <pc:picChg chg="add mod">
          <ac:chgData name="Jan Cordtz" userId="b5e592fb-fc8b-4323-a97d-691438b2e2da" providerId="ADAL" clId="{4E22EDF5-2883-5D57-B9C7-04E66950367B}" dt="2026-01-07T16:38:15.777" v="12080" actId="1076"/>
          <ac:picMkLst>
            <pc:docMk/>
            <pc:sldMk cId="2567728905" sldId="2147483502"/>
            <ac:picMk id="2" creationId="{2823CB1E-7614-7E17-1F35-33857208C2D0}"/>
          </ac:picMkLst>
        </pc:picChg>
        <pc:cxnChg chg="add mod">
          <ac:chgData name="Jan Cordtz" userId="b5e592fb-fc8b-4323-a97d-691438b2e2da" providerId="ADAL" clId="{4E22EDF5-2883-5D57-B9C7-04E66950367B}" dt="2026-01-07T16:41:58.277" v="12379" actId="14100"/>
          <ac:cxnSpMkLst>
            <pc:docMk/>
            <pc:sldMk cId="2567728905" sldId="2147483502"/>
            <ac:cxnSpMk id="5" creationId="{0FC7837F-D831-2B8B-F526-BC8C8F96FEE4}"/>
          </ac:cxnSpMkLst>
        </pc:cxnChg>
        <pc:cxnChg chg="add mod">
          <ac:chgData name="Jan Cordtz" userId="b5e592fb-fc8b-4323-a97d-691438b2e2da" providerId="ADAL" clId="{4E22EDF5-2883-5D57-B9C7-04E66950367B}" dt="2026-01-07T16:42:02.628" v="12380" actId="14100"/>
          <ac:cxnSpMkLst>
            <pc:docMk/>
            <pc:sldMk cId="2567728905" sldId="2147483502"/>
            <ac:cxnSpMk id="7" creationId="{A871A570-CEE6-2715-02CF-1D1AF383BC36}"/>
          </ac:cxnSpMkLst>
        </pc:cxnChg>
      </pc:sldChg>
      <pc:sldChg chg="modSp add mod">
        <pc:chgData name="Jan Cordtz" userId="b5e592fb-fc8b-4323-a97d-691438b2e2da" providerId="ADAL" clId="{4E22EDF5-2883-5D57-B9C7-04E66950367B}" dt="2026-01-08T06:31:21.073" v="14135" actId="20577"/>
        <pc:sldMkLst>
          <pc:docMk/>
          <pc:sldMk cId="3717846884" sldId="2147483503"/>
        </pc:sldMkLst>
        <pc:spChg chg="mod">
          <ac:chgData name="Jan Cordtz" userId="b5e592fb-fc8b-4323-a97d-691438b2e2da" providerId="ADAL" clId="{4E22EDF5-2883-5D57-B9C7-04E66950367B}" dt="2026-01-08T06:31:21.073" v="14135" actId="20577"/>
          <ac:spMkLst>
            <pc:docMk/>
            <pc:sldMk cId="3717846884" sldId="2147483503"/>
            <ac:spMk id="2" creationId="{D877BB27-0AFC-D12F-4737-150273325FA2}"/>
          </ac:spMkLst>
        </pc:spChg>
      </pc:sldChg>
      <pc:sldChg chg="modSp add mod modClrScheme chgLayout">
        <pc:chgData name="Jan Cordtz" userId="b5e592fb-fc8b-4323-a97d-691438b2e2da" providerId="ADAL" clId="{4E22EDF5-2883-5D57-B9C7-04E66950367B}" dt="2026-01-12T15:44:37.875" v="18670" actId="700"/>
        <pc:sldMkLst>
          <pc:docMk/>
          <pc:sldMk cId="2276207670" sldId="2147483504"/>
        </pc:sldMkLst>
        <pc:spChg chg="mod">
          <ac:chgData name="Jan Cordtz" userId="b5e592fb-fc8b-4323-a97d-691438b2e2da" providerId="ADAL" clId="{4E22EDF5-2883-5D57-B9C7-04E66950367B}" dt="2026-01-08T08:21:05.533" v="15702" actId="14100"/>
          <ac:spMkLst>
            <pc:docMk/>
            <pc:sldMk cId="2276207670" sldId="2147483504"/>
            <ac:spMk id="2" creationId="{08750425-0E0B-1F20-046D-E449E036E1AE}"/>
          </ac:spMkLst>
        </pc:spChg>
        <pc:spChg chg="mod">
          <ac:chgData name="Jan Cordtz" userId="b5e592fb-fc8b-4323-a97d-691438b2e2da" providerId="ADAL" clId="{4E22EDF5-2883-5D57-B9C7-04E66950367B}" dt="2026-01-08T06:33:08.868" v="14271" actId="20577"/>
          <ac:spMkLst>
            <pc:docMk/>
            <pc:sldMk cId="2276207670" sldId="2147483504"/>
            <ac:spMk id="3" creationId="{59BBE82A-3103-6DC9-2E85-F1D56B66CC0D}"/>
          </ac:spMkLst>
        </pc:spChg>
      </pc:sldChg>
      <pc:sldChg chg="addSp delSp modSp add mod modClrScheme chgLayout">
        <pc:chgData name="Jan Cordtz" userId="b5e592fb-fc8b-4323-a97d-691438b2e2da" providerId="ADAL" clId="{4E22EDF5-2883-5D57-B9C7-04E66950367B}" dt="2026-01-12T15:44:37.875" v="18670" actId="700"/>
        <pc:sldMkLst>
          <pc:docMk/>
          <pc:sldMk cId="2222417700" sldId="2147483505"/>
        </pc:sldMkLst>
        <pc:spChg chg="mod">
          <ac:chgData name="Jan Cordtz" userId="b5e592fb-fc8b-4323-a97d-691438b2e2da" providerId="ADAL" clId="{4E22EDF5-2883-5D57-B9C7-04E66950367B}" dt="2026-01-09T16:14:48.129" v="17250" actId="20577"/>
          <ac:spMkLst>
            <pc:docMk/>
            <pc:sldMk cId="2222417700" sldId="2147483505"/>
            <ac:spMk id="2" creationId="{00BAEC4F-B327-0DF5-986B-7BB9F6E0AD37}"/>
          </ac:spMkLst>
        </pc:spChg>
        <pc:spChg chg="mod">
          <ac:chgData name="Jan Cordtz" userId="b5e592fb-fc8b-4323-a97d-691438b2e2da" providerId="ADAL" clId="{4E22EDF5-2883-5D57-B9C7-04E66950367B}" dt="2026-01-08T06:33:20.021" v="14292" actId="20577"/>
          <ac:spMkLst>
            <pc:docMk/>
            <pc:sldMk cId="2222417700" sldId="2147483505"/>
            <ac:spMk id="3" creationId="{E3EE0FCC-08E3-05C4-7D96-784CB27B7156}"/>
          </ac:spMkLst>
        </pc:spChg>
        <pc:spChg chg="add mod">
          <ac:chgData name="Jan Cordtz" userId="b5e592fb-fc8b-4323-a97d-691438b2e2da" providerId="ADAL" clId="{4E22EDF5-2883-5D57-B9C7-04E66950367B}" dt="2026-01-08T08:28:46.812" v="16065" actId="692"/>
          <ac:spMkLst>
            <pc:docMk/>
            <pc:sldMk cId="2222417700" sldId="2147483505"/>
            <ac:spMk id="5" creationId="{EDA0849A-F713-B89C-43CB-EBED917162D1}"/>
          </ac:spMkLst>
        </pc:spChg>
        <pc:spChg chg="add mod">
          <ac:chgData name="Jan Cordtz" userId="b5e592fb-fc8b-4323-a97d-691438b2e2da" providerId="ADAL" clId="{4E22EDF5-2883-5D57-B9C7-04E66950367B}" dt="2026-01-09T15:23:00.239" v="17203" actId="20577"/>
          <ac:spMkLst>
            <pc:docMk/>
            <pc:sldMk cId="2222417700" sldId="2147483505"/>
            <ac:spMk id="6" creationId="{CE7A1035-3581-242D-9894-000D6D80DCC6}"/>
          </ac:spMkLst>
        </pc:spChg>
        <pc:spChg chg="add mod">
          <ac:chgData name="Jan Cordtz" userId="b5e592fb-fc8b-4323-a97d-691438b2e2da" providerId="ADAL" clId="{4E22EDF5-2883-5D57-B9C7-04E66950367B}" dt="2026-01-08T08:31:42.195" v="16161" actId="1076"/>
          <ac:spMkLst>
            <pc:docMk/>
            <pc:sldMk cId="2222417700" sldId="2147483505"/>
            <ac:spMk id="7" creationId="{5BAE6542-FEB0-6CD4-38E0-A06919C7BBE1}"/>
          </ac:spMkLst>
        </pc:spChg>
        <pc:spChg chg="add mod">
          <ac:chgData name="Jan Cordtz" userId="b5e592fb-fc8b-4323-a97d-691438b2e2da" providerId="ADAL" clId="{4E22EDF5-2883-5D57-B9C7-04E66950367B}" dt="2026-01-08T08:31:42.195" v="16161" actId="1076"/>
          <ac:spMkLst>
            <pc:docMk/>
            <pc:sldMk cId="2222417700" sldId="2147483505"/>
            <ac:spMk id="8" creationId="{FEABB81E-233B-807E-547A-DB9ED6E2EBBD}"/>
          </ac:spMkLst>
        </pc:spChg>
      </pc:sldChg>
      <pc:sldChg chg="addSp modSp add mod modClrScheme chgLayout">
        <pc:chgData name="Jan Cordtz" userId="b5e592fb-fc8b-4323-a97d-691438b2e2da" providerId="ADAL" clId="{4E22EDF5-2883-5D57-B9C7-04E66950367B}" dt="2026-01-12T15:44:37.875" v="18670" actId="700"/>
        <pc:sldMkLst>
          <pc:docMk/>
          <pc:sldMk cId="3358562811" sldId="2147483506"/>
        </pc:sldMkLst>
        <pc:spChg chg="mod">
          <ac:chgData name="Jan Cordtz" userId="b5e592fb-fc8b-4323-a97d-691438b2e2da" providerId="ADAL" clId="{4E22EDF5-2883-5D57-B9C7-04E66950367B}" dt="2026-01-08T06:44:39.436" v="14898" actId="20577"/>
          <ac:spMkLst>
            <pc:docMk/>
            <pc:sldMk cId="3358562811" sldId="2147483506"/>
            <ac:spMk id="2" creationId="{273DE5CA-77CF-242F-1762-2D8D7E6EB166}"/>
          </ac:spMkLst>
        </pc:spChg>
        <pc:spChg chg="mod">
          <ac:chgData name="Jan Cordtz" userId="b5e592fb-fc8b-4323-a97d-691438b2e2da" providerId="ADAL" clId="{4E22EDF5-2883-5D57-B9C7-04E66950367B}" dt="2026-01-08T06:33:35.007" v="14309" actId="20577"/>
          <ac:spMkLst>
            <pc:docMk/>
            <pc:sldMk cId="3358562811" sldId="2147483506"/>
            <ac:spMk id="3" creationId="{F5BBBBB3-F072-BE09-BAFE-68E0E721FDA4}"/>
          </ac:spMkLst>
        </pc:spChg>
        <pc:spChg chg="add mod">
          <ac:chgData name="Jan Cordtz" userId="b5e592fb-fc8b-4323-a97d-691438b2e2da" providerId="ADAL" clId="{4E22EDF5-2883-5D57-B9C7-04E66950367B}" dt="2026-01-08T08:09:59.277" v="14921" actId="113"/>
          <ac:spMkLst>
            <pc:docMk/>
            <pc:sldMk cId="3358562811" sldId="2147483506"/>
            <ac:spMk id="4" creationId="{114B5E09-CAEA-E148-6A01-F65B0B94C884}"/>
          </ac:spMkLst>
        </pc:spChg>
        <pc:spChg chg="add mod">
          <ac:chgData name="Jan Cordtz" userId="b5e592fb-fc8b-4323-a97d-691438b2e2da" providerId="ADAL" clId="{4E22EDF5-2883-5D57-B9C7-04E66950367B}" dt="2026-01-08T08:10:07.812" v="14922" actId="114"/>
          <ac:spMkLst>
            <pc:docMk/>
            <pc:sldMk cId="3358562811" sldId="2147483506"/>
            <ac:spMk id="5" creationId="{27D09536-7B91-C177-3CCA-F2D69C1EDFE3}"/>
          </ac:spMkLst>
        </pc:spChg>
        <pc:spChg chg="add mod">
          <ac:chgData name="Jan Cordtz" userId="b5e592fb-fc8b-4323-a97d-691438b2e2da" providerId="ADAL" clId="{4E22EDF5-2883-5D57-B9C7-04E66950367B}" dt="2026-01-08T08:10:17.520" v="14925" actId="20577"/>
          <ac:spMkLst>
            <pc:docMk/>
            <pc:sldMk cId="3358562811" sldId="2147483506"/>
            <ac:spMk id="6" creationId="{6DEB3D19-0D0F-068E-C0CA-874627AF7E51}"/>
          </ac:spMkLst>
        </pc:spChg>
        <pc:spChg chg="add mod">
          <ac:chgData name="Jan Cordtz" userId="b5e592fb-fc8b-4323-a97d-691438b2e2da" providerId="ADAL" clId="{4E22EDF5-2883-5D57-B9C7-04E66950367B}" dt="2026-01-08T06:43:31.386" v="14829" actId="1076"/>
          <ac:spMkLst>
            <pc:docMk/>
            <pc:sldMk cId="3358562811" sldId="2147483506"/>
            <ac:spMk id="7" creationId="{13F4E7FC-A663-FF74-CF07-BB08BB23F8EB}"/>
          </ac:spMkLst>
        </pc:spChg>
        <pc:spChg chg="add mod">
          <ac:chgData name="Jan Cordtz" userId="b5e592fb-fc8b-4323-a97d-691438b2e2da" providerId="ADAL" clId="{4E22EDF5-2883-5D57-B9C7-04E66950367B}" dt="2026-01-08T06:43:27.774" v="14828" actId="1076"/>
          <ac:spMkLst>
            <pc:docMk/>
            <pc:sldMk cId="3358562811" sldId="2147483506"/>
            <ac:spMk id="8" creationId="{F9D2BF6F-DB71-B2D4-9D03-C1AD0DC8753B}"/>
          </ac:spMkLst>
        </pc:spChg>
        <pc:spChg chg="add mod">
          <ac:chgData name="Jan Cordtz" userId="b5e592fb-fc8b-4323-a97d-691438b2e2da" providerId="ADAL" clId="{4E22EDF5-2883-5D57-B9C7-04E66950367B}" dt="2026-01-08T06:43:55.250" v="14852" actId="1076"/>
          <ac:spMkLst>
            <pc:docMk/>
            <pc:sldMk cId="3358562811" sldId="2147483506"/>
            <ac:spMk id="9" creationId="{34669099-9D35-5EF8-DC46-5FE8A2CD751E}"/>
          </ac:spMkLst>
        </pc:spChg>
        <pc:spChg chg="add mod">
          <ac:chgData name="Jan Cordtz" userId="b5e592fb-fc8b-4323-a97d-691438b2e2da" providerId="ADAL" clId="{4E22EDF5-2883-5D57-B9C7-04E66950367B}" dt="2026-01-08T06:44:01.290" v="14854" actId="1076"/>
          <ac:spMkLst>
            <pc:docMk/>
            <pc:sldMk cId="3358562811" sldId="2147483506"/>
            <ac:spMk id="10" creationId="{602ADC92-D2E5-F380-F673-699D591E2E0B}"/>
          </ac:spMkLst>
        </pc:spChg>
      </pc:sldChg>
      <pc:sldChg chg="modSp add mod modClrScheme chgLayout">
        <pc:chgData name="Jan Cordtz" userId="b5e592fb-fc8b-4323-a97d-691438b2e2da" providerId="ADAL" clId="{4E22EDF5-2883-5D57-B9C7-04E66950367B}" dt="2026-01-12T15:44:37.875" v="18670" actId="700"/>
        <pc:sldMkLst>
          <pc:docMk/>
          <pc:sldMk cId="1239429517" sldId="2147483507"/>
        </pc:sldMkLst>
        <pc:spChg chg="mod">
          <ac:chgData name="Jan Cordtz" userId="b5e592fb-fc8b-4323-a97d-691438b2e2da" providerId="ADAL" clId="{4E22EDF5-2883-5D57-B9C7-04E66950367B}" dt="2026-01-08T08:19:09.714" v="15660" actId="1076"/>
          <ac:spMkLst>
            <pc:docMk/>
            <pc:sldMk cId="1239429517" sldId="2147483507"/>
            <ac:spMk id="2" creationId="{B16A7571-2B28-5120-B35C-DEF4B48941DB}"/>
          </ac:spMkLst>
        </pc:spChg>
        <pc:spChg chg="mod">
          <ac:chgData name="Jan Cordtz" userId="b5e592fb-fc8b-4323-a97d-691438b2e2da" providerId="ADAL" clId="{4E22EDF5-2883-5D57-B9C7-04E66950367B}" dt="2026-01-08T08:19:13.077" v="15664" actId="20577"/>
          <ac:spMkLst>
            <pc:docMk/>
            <pc:sldMk cId="1239429517" sldId="2147483507"/>
            <ac:spMk id="3" creationId="{1E12A9F4-54B8-15D2-E0BE-B29165244995}"/>
          </ac:spMkLst>
        </pc:spChg>
      </pc:sldChg>
      <pc:sldChg chg="addSp delSp modSp add mod modClrScheme chgLayout">
        <pc:chgData name="Jan Cordtz" userId="b5e592fb-fc8b-4323-a97d-691438b2e2da" providerId="ADAL" clId="{4E22EDF5-2883-5D57-B9C7-04E66950367B}" dt="2026-01-12T15:44:37.875" v="18670" actId="700"/>
        <pc:sldMkLst>
          <pc:docMk/>
          <pc:sldMk cId="2473935327" sldId="2147483508"/>
        </pc:sldMkLst>
        <pc:spChg chg="mod">
          <ac:chgData name="Jan Cordtz" userId="b5e592fb-fc8b-4323-a97d-691438b2e2da" providerId="ADAL" clId="{4E22EDF5-2883-5D57-B9C7-04E66950367B}" dt="2026-01-08T08:33:25.994" v="16183" actId="113"/>
          <ac:spMkLst>
            <pc:docMk/>
            <pc:sldMk cId="2473935327" sldId="2147483508"/>
            <ac:spMk id="3" creationId="{5B1EFB76-9266-7966-E6E8-2812F3B9C713}"/>
          </ac:spMkLst>
        </pc:spChg>
        <pc:spChg chg="add mod">
          <ac:chgData name="Jan Cordtz" userId="b5e592fb-fc8b-4323-a97d-691438b2e2da" providerId="ADAL" clId="{4E22EDF5-2883-5D57-B9C7-04E66950367B}" dt="2026-01-08T08:36:16.810" v="16208" actId="14100"/>
          <ac:spMkLst>
            <pc:docMk/>
            <pc:sldMk cId="2473935327" sldId="2147483508"/>
            <ac:spMk id="5" creationId="{1562A46A-1F56-29E8-A99A-F5817C9F69D8}"/>
          </ac:spMkLst>
        </pc:spChg>
        <pc:spChg chg="add mod">
          <ac:chgData name="Jan Cordtz" userId="b5e592fb-fc8b-4323-a97d-691438b2e2da" providerId="ADAL" clId="{4E22EDF5-2883-5D57-B9C7-04E66950367B}" dt="2026-01-08T08:34:29.825" v="16192" actId="1076"/>
          <ac:spMkLst>
            <pc:docMk/>
            <pc:sldMk cId="2473935327" sldId="2147483508"/>
            <ac:spMk id="6" creationId="{5816491A-4EF6-1C04-0171-AE3B2C7B08C2}"/>
          </ac:spMkLst>
        </pc:spChg>
        <pc:spChg chg="add mod">
          <ac:chgData name="Jan Cordtz" userId="b5e592fb-fc8b-4323-a97d-691438b2e2da" providerId="ADAL" clId="{4E22EDF5-2883-5D57-B9C7-04E66950367B}" dt="2026-01-08T08:35:20.156" v="16200" actId="1076"/>
          <ac:spMkLst>
            <pc:docMk/>
            <pc:sldMk cId="2473935327" sldId="2147483508"/>
            <ac:spMk id="7" creationId="{522AAD7D-D247-9012-B2AD-43D3605C0195}"/>
          </ac:spMkLst>
        </pc:spChg>
        <pc:spChg chg="add mod">
          <ac:chgData name="Jan Cordtz" userId="b5e592fb-fc8b-4323-a97d-691438b2e2da" providerId="ADAL" clId="{4E22EDF5-2883-5D57-B9C7-04E66950367B}" dt="2026-01-08T08:36:43.157" v="16213" actId="1076"/>
          <ac:spMkLst>
            <pc:docMk/>
            <pc:sldMk cId="2473935327" sldId="2147483508"/>
            <ac:spMk id="8" creationId="{A08C0A54-7E21-E81F-2BB6-EE5D7408EA4D}"/>
          </ac:spMkLst>
        </pc:spChg>
        <pc:spChg chg="add mod">
          <ac:chgData name="Jan Cordtz" userId="b5e592fb-fc8b-4323-a97d-691438b2e2da" providerId="ADAL" clId="{4E22EDF5-2883-5D57-B9C7-04E66950367B}" dt="2026-01-08T08:38:55.023" v="16234" actId="14100"/>
          <ac:spMkLst>
            <pc:docMk/>
            <pc:sldMk cId="2473935327" sldId="2147483508"/>
            <ac:spMk id="9" creationId="{AB7041F8-B8E0-8AEF-2D89-F66AE0952C54}"/>
          </ac:spMkLst>
        </pc:spChg>
        <pc:spChg chg="add mod">
          <ac:chgData name="Jan Cordtz" userId="b5e592fb-fc8b-4323-a97d-691438b2e2da" providerId="ADAL" clId="{4E22EDF5-2883-5D57-B9C7-04E66950367B}" dt="2026-01-08T08:38:30.286" v="16232" actId="14100"/>
          <ac:spMkLst>
            <pc:docMk/>
            <pc:sldMk cId="2473935327" sldId="2147483508"/>
            <ac:spMk id="10" creationId="{F7C40998-5681-FC02-82D8-3250709BE370}"/>
          </ac:spMkLst>
        </pc:spChg>
        <pc:picChg chg="mod">
          <ac:chgData name="Jan Cordtz" userId="b5e592fb-fc8b-4323-a97d-691438b2e2da" providerId="ADAL" clId="{4E22EDF5-2883-5D57-B9C7-04E66950367B}" dt="2026-01-08T08:35:12.807" v="16199" actId="1076"/>
          <ac:picMkLst>
            <pc:docMk/>
            <pc:sldMk cId="2473935327" sldId="2147483508"/>
            <ac:picMk id="4" creationId="{6149F943-98E9-7605-EE2C-6FC2EEF9352E}"/>
          </ac:picMkLst>
        </pc:picChg>
      </pc:sldChg>
      <pc:sldChg chg="addSp delSp modSp new mod modClrScheme chgLayout">
        <pc:chgData name="Jan Cordtz" userId="b5e592fb-fc8b-4323-a97d-691438b2e2da" providerId="ADAL" clId="{4E22EDF5-2883-5D57-B9C7-04E66950367B}" dt="2026-01-12T15:44:37.875" v="18670" actId="700"/>
        <pc:sldMkLst>
          <pc:docMk/>
          <pc:sldMk cId="169057164" sldId="2147483509"/>
        </pc:sldMkLst>
        <pc:spChg chg="add mod">
          <ac:chgData name="Jan Cordtz" userId="b5e592fb-fc8b-4323-a97d-691438b2e2da" providerId="ADAL" clId="{4E22EDF5-2883-5D57-B9C7-04E66950367B}" dt="2026-01-09T15:00:30.051" v="16269" actId="20577"/>
          <ac:spMkLst>
            <pc:docMk/>
            <pc:sldMk cId="169057164" sldId="2147483509"/>
            <ac:spMk id="3" creationId="{8FEA0F63-4531-CB85-A10D-E0413858E502}"/>
          </ac:spMkLst>
        </pc:spChg>
        <pc:spChg chg="add mod">
          <ac:chgData name="Jan Cordtz" userId="b5e592fb-fc8b-4323-a97d-691438b2e2da" providerId="ADAL" clId="{4E22EDF5-2883-5D57-B9C7-04E66950367B}" dt="2026-01-09T15:12:25.369" v="16550" actId="115"/>
          <ac:spMkLst>
            <pc:docMk/>
            <pc:sldMk cId="169057164" sldId="2147483509"/>
            <ac:spMk id="4" creationId="{E0D43E4D-28EB-9864-05EB-D4433AA64989}"/>
          </ac:spMkLst>
        </pc:spChg>
        <pc:spChg chg="add mod">
          <ac:chgData name="Jan Cordtz" userId="b5e592fb-fc8b-4323-a97d-691438b2e2da" providerId="ADAL" clId="{4E22EDF5-2883-5D57-B9C7-04E66950367B}" dt="2026-01-09T15:10:41.415" v="16531" actId="1076"/>
          <ac:spMkLst>
            <pc:docMk/>
            <pc:sldMk cId="169057164" sldId="2147483509"/>
            <ac:spMk id="5" creationId="{6153DF8E-24D3-4A0A-64E8-F909A61CF632}"/>
          </ac:spMkLst>
        </pc:spChg>
        <pc:spChg chg="add mod">
          <ac:chgData name="Jan Cordtz" userId="b5e592fb-fc8b-4323-a97d-691438b2e2da" providerId="ADAL" clId="{4E22EDF5-2883-5D57-B9C7-04E66950367B}" dt="2026-01-09T15:14:02.659" v="16555" actId="14100"/>
          <ac:spMkLst>
            <pc:docMk/>
            <pc:sldMk cId="169057164" sldId="2147483509"/>
            <ac:spMk id="6" creationId="{F805AC05-D589-D169-D583-A0851E7ED212}"/>
          </ac:spMkLst>
        </pc:spChg>
        <pc:picChg chg="add mod">
          <ac:chgData name="Jan Cordtz" userId="b5e592fb-fc8b-4323-a97d-691438b2e2da" providerId="ADAL" clId="{4E22EDF5-2883-5D57-B9C7-04E66950367B}" dt="2026-01-09T15:13:58.628" v="16554" actId="1076"/>
          <ac:picMkLst>
            <pc:docMk/>
            <pc:sldMk cId="169057164" sldId="2147483509"/>
            <ac:picMk id="13" creationId="{91A9E722-B1E5-802D-5004-7321AF3B3551}"/>
          </ac:picMkLst>
        </pc:picChg>
        <pc:cxnChg chg="add mod">
          <ac:chgData name="Jan Cordtz" userId="b5e592fb-fc8b-4323-a97d-691438b2e2da" providerId="ADAL" clId="{4E22EDF5-2883-5D57-B9C7-04E66950367B}" dt="2026-01-09T15:11:17.387" v="16537" actId="14100"/>
          <ac:cxnSpMkLst>
            <pc:docMk/>
            <pc:sldMk cId="169057164" sldId="2147483509"/>
            <ac:cxnSpMk id="7" creationId="{51100024-EB51-A4C2-FB5A-9AA9D3297F4C}"/>
          </ac:cxnSpMkLst>
        </pc:cxnChg>
        <pc:cxnChg chg="add mod">
          <ac:chgData name="Jan Cordtz" userId="b5e592fb-fc8b-4323-a97d-691438b2e2da" providerId="ADAL" clId="{4E22EDF5-2883-5D57-B9C7-04E66950367B}" dt="2026-01-09T15:14:06.636" v="16556" actId="14100"/>
          <ac:cxnSpMkLst>
            <pc:docMk/>
            <pc:sldMk cId="169057164" sldId="2147483509"/>
            <ac:cxnSpMk id="10" creationId="{C9017ED2-8532-DC3B-25C1-32F97B0B85C7}"/>
          </ac:cxnSpMkLst>
        </pc:cxnChg>
      </pc:sldChg>
      <pc:sldChg chg="addSp modSp new mod modClrScheme chgLayout">
        <pc:chgData name="Jan Cordtz" userId="b5e592fb-fc8b-4323-a97d-691438b2e2da" providerId="ADAL" clId="{4E22EDF5-2883-5D57-B9C7-04E66950367B}" dt="2026-01-12T15:44:37.875" v="18670" actId="700"/>
        <pc:sldMkLst>
          <pc:docMk/>
          <pc:sldMk cId="311678123" sldId="2147483510"/>
        </pc:sldMkLst>
        <pc:spChg chg="add mod">
          <ac:chgData name="Jan Cordtz" userId="b5e592fb-fc8b-4323-a97d-691438b2e2da" providerId="ADAL" clId="{4E22EDF5-2883-5D57-B9C7-04E66950367B}" dt="2026-01-09T15:19:39.484" v="17047" actId="108"/>
          <ac:spMkLst>
            <pc:docMk/>
            <pc:sldMk cId="311678123" sldId="2147483510"/>
            <ac:spMk id="3" creationId="{6A7C7DDE-37DB-E0F5-ACB7-947D3590899B}"/>
          </ac:spMkLst>
        </pc:spChg>
        <pc:spChg chg="add mod">
          <ac:chgData name="Jan Cordtz" userId="b5e592fb-fc8b-4323-a97d-691438b2e2da" providerId="ADAL" clId="{4E22EDF5-2883-5D57-B9C7-04E66950367B}" dt="2026-01-09T15:21:59.989" v="17176" actId="20577"/>
          <ac:spMkLst>
            <pc:docMk/>
            <pc:sldMk cId="311678123" sldId="2147483510"/>
            <ac:spMk id="4" creationId="{DAD7F9B3-2DD0-7627-EB74-5BDB38A9E424}"/>
          </ac:spMkLst>
        </pc:spChg>
        <pc:picChg chg="add mod">
          <ac:chgData name="Jan Cordtz" userId="b5e592fb-fc8b-4323-a97d-691438b2e2da" providerId="ADAL" clId="{4E22EDF5-2883-5D57-B9C7-04E66950367B}" dt="2026-01-09T15:00:05.754" v="16243" actId="1076"/>
          <ac:picMkLst>
            <pc:docMk/>
            <pc:sldMk cId="311678123" sldId="2147483510"/>
            <ac:picMk id="2" creationId="{A068C6B9-86E9-466A-5291-257027564F16}"/>
          </ac:picMkLst>
        </pc:picChg>
      </pc:sldChg>
      <pc:sldChg chg="addSp modSp new mod modClrScheme chgLayout">
        <pc:chgData name="Jan Cordtz" userId="b5e592fb-fc8b-4323-a97d-691438b2e2da" providerId="ADAL" clId="{4E22EDF5-2883-5D57-B9C7-04E66950367B}" dt="2026-01-12T15:44:37.875" v="18670" actId="700"/>
        <pc:sldMkLst>
          <pc:docMk/>
          <pc:sldMk cId="3301021290" sldId="2147483511"/>
        </pc:sldMkLst>
        <pc:spChg chg="add mod">
          <ac:chgData name="Jan Cordtz" userId="b5e592fb-fc8b-4323-a97d-691438b2e2da" providerId="ADAL" clId="{4E22EDF5-2883-5D57-B9C7-04E66950367B}" dt="2026-01-09T15:23:15.002" v="17215" actId="20577"/>
          <ac:spMkLst>
            <pc:docMk/>
            <pc:sldMk cId="3301021290" sldId="2147483511"/>
            <ac:spMk id="3" creationId="{10079AD7-9324-4C95-2BBD-9B7C0AF7641A}"/>
          </ac:spMkLst>
        </pc:spChg>
        <pc:spChg chg="add mod">
          <ac:chgData name="Jan Cordtz" userId="b5e592fb-fc8b-4323-a97d-691438b2e2da" providerId="ADAL" clId="{4E22EDF5-2883-5D57-B9C7-04E66950367B}" dt="2026-01-09T15:22:08.579" v="17183" actId="20577"/>
          <ac:spMkLst>
            <pc:docMk/>
            <pc:sldMk cId="3301021290" sldId="2147483511"/>
            <ac:spMk id="4" creationId="{774CE572-706F-DD92-C22A-7E120F9B9435}"/>
          </ac:spMkLst>
        </pc:spChg>
        <pc:picChg chg="add mod">
          <ac:chgData name="Jan Cordtz" userId="b5e592fb-fc8b-4323-a97d-691438b2e2da" providerId="ADAL" clId="{4E22EDF5-2883-5D57-B9C7-04E66950367B}" dt="2026-01-09T15:00:03.091" v="16242" actId="1076"/>
          <ac:picMkLst>
            <pc:docMk/>
            <pc:sldMk cId="3301021290" sldId="2147483511"/>
            <ac:picMk id="2" creationId="{003001BA-9A65-01E8-378F-828A779C157D}"/>
          </ac:picMkLst>
        </pc:picChg>
      </pc:sldChg>
      <pc:sldChg chg="addSp modSp new mod modClrScheme chgLayout">
        <pc:chgData name="Jan Cordtz" userId="b5e592fb-fc8b-4323-a97d-691438b2e2da" providerId="ADAL" clId="{4E22EDF5-2883-5D57-B9C7-04E66950367B}" dt="2026-01-12T15:46:22.684" v="18680" actId="700"/>
        <pc:sldMkLst>
          <pc:docMk/>
          <pc:sldMk cId="1862288018" sldId="2147483512"/>
        </pc:sldMkLst>
        <pc:spChg chg="add mod">
          <ac:chgData name="Jan Cordtz" userId="b5e592fb-fc8b-4323-a97d-691438b2e2da" providerId="ADAL" clId="{4E22EDF5-2883-5D57-B9C7-04E66950367B}" dt="2026-01-09T16:51:36.483" v="18233"/>
          <ac:spMkLst>
            <pc:docMk/>
            <pc:sldMk cId="1862288018" sldId="2147483512"/>
            <ac:spMk id="3" creationId="{179C4B28-2C04-5B9D-B487-735A388D432F}"/>
          </ac:spMkLst>
        </pc:spChg>
        <pc:spChg chg="add mod">
          <ac:chgData name="Jan Cordtz" userId="b5e592fb-fc8b-4323-a97d-691438b2e2da" providerId="ADAL" clId="{4E22EDF5-2883-5D57-B9C7-04E66950367B}" dt="2026-01-09T16:59:28.353" v="18356" actId="115"/>
          <ac:spMkLst>
            <pc:docMk/>
            <pc:sldMk cId="1862288018" sldId="2147483512"/>
            <ac:spMk id="4" creationId="{B5B26E3B-10AB-229A-7F8C-A810409A5ED7}"/>
          </ac:spMkLst>
        </pc:spChg>
        <pc:picChg chg="add mod">
          <ac:chgData name="Jan Cordtz" userId="b5e592fb-fc8b-4323-a97d-691438b2e2da" providerId="ADAL" clId="{4E22EDF5-2883-5D57-B9C7-04E66950367B}" dt="2026-01-09T16:43:17.590" v="17259" actId="1076"/>
          <ac:picMkLst>
            <pc:docMk/>
            <pc:sldMk cId="1862288018" sldId="2147483512"/>
            <ac:picMk id="2" creationId="{06944641-BEA2-908E-361F-181C2AFC6274}"/>
          </ac:picMkLst>
        </pc:picChg>
        <pc:cxnChg chg="add mod">
          <ac:chgData name="Jan Cordtz" userId="b5e592fb-fc8b-4323-a97d-691438b2e2da" providerId="ADAL" clId="{4E22EDF5-2883-5D57-B9C7-04E66950367B}" dt="2026-01-09T16:52:11.321" v="18238" actId="14100"/>
          <ac:cxnSpMkLst>
            <pc:docMk/>
            <pc:sldMk cId="1862288018" sldId="2147483512"/>
            <ac:cxnSpMk id="5" creationId="{A8A6E7AF-C891-15B5-27E7-1977242C7340}"/>
          </ac:cxnSpMkLst>
        </pc:cxnChg>
        <pc:cxnChg chg="add mod">
          <ac:chgData name="Jan Cordtz" userId="b5e592fb-fc8b-4323-a97d-691438b2e2da" providerId="ADAL" clId="{4E22EDF5-2883-5D57-B9C7-04E66950367B}" dt="2026-01-09T16:52:33.208" v="18245" actId="14100"/>
          <ac:cxnSpMkLst>
            <pc:docMk/>
            <pc:sldMk cId="1862288018" sldId="2147483512"/>
            <ac:cxnSpMk id="8" creationId="{9920219A-77DE-4F4F-0310-D71984DA12A0}"/>
          </ac:cxnSpMkLst>
        </pc:cxnChg>
        <pc:cxnChg chg="add mod">
          <ac:chgData name="Jan Cordtz" userId="b5e592fb-fc8b-4323-a97d-691438b2e2da" providerId="ADAL" clId="{4E22EDF5-2883-5D57-B9C7-04E66950367B}" dt="2026-01-09T16:52:28.752" v="18244" actId="14100"/>
          <ac:cxnSpMkLst>
            <pc:docMk/>
            <pc:sldMk cId="1862288018" sldId="2147483512"/>
            <ac:cxnSpMk id="11" creationId="{2F640914-1D42-5886-AC51-FA11F87F6680}"/>
          </ac:cxnSpMkLst>
        </pc:cxnChg>
        <pc:cxnChg chg="add mod">
          <ac:chgData name="Jan Cordtz" userId="b5e592fb-fc8b-4323-a97d-691438b2e2da" providerId="ADAL" clId="{4E22EDF5-2883-5D57-B9C7-04E66950367B}" dt="2026-01-09T16:52:42.268" v="18248" actId="14100"/>
          <ac:cxnSpMkLst>
            <pc:docMk/>
            <pc:sldMk cId="1862288018" sldId="2147483512"/>
            <ac:cxnSpMk id="15" creationId="{592C3CEB-F4BC-AB49-CC4F-3778CFB891F0}"/>
          </ac:cxnSpMkLst>
        </pc:cxnChg>
        <pc:cxnChg chg="add mod">
          <ac:chgData name="Jan Cordtz" userId="b5e592fb-fc8b-4323-a97d-691438b2e2da" providerId="ADAL" clId="{4E22EDF5-2883-5D57-B9C7-04E66950367B}" dt="2026-01-09T16:53:07.453" v="18254" actId="14100"/>
          <ac:cxnSpMkLst>
            <pc:docMk/>
            <pc:sldMk cId="1862288018" sldId="2147483512"/>
            <ac:cxnSpMk id="18" creationId="{B4AD9488-E4FE-B5EA-37BE-6296AD2314B1}"/>
          </ac:cxnSpMkLst>
        </pc:cxnChg>
        <pc:cxnChg chg="add mod">
          <ac:chgData name="Jan Cordtz" userId="b5e592fb-fc8b-4323-a97d-691438b2e2da" providerId="ADAL" clId="{4E22EDF5-2883-5D57-B9C7-04E66950367B}" dt="2026-01-09T16:53:16.753" v="18257" actId="14100"/>
          <ac:cxnSpMkLst>
            <pc:docMk/>
            <pc:sldMk cId="1862288018" sldId="2147483512"/>
            <ac:cxnSpMk id="21" creationId="{6109B37D-24AC-F8E9-C261-8E50AEF08C08}"/>
          </ac:cxnSpMkLst>
        </pc:cxnChg>
        <pc:cxnChg chg="add mod">
          <ac:chgData name="Jan Cordtz" userId="b5e592fb-fc8b-4323-a97d-691438b2e2da" providerId="ADAL" clId="{4E22EDF5-2883-5D57-B9C7-04E66950367B}" dt="2026-01-09T16:53:25.653" v="18260" actId="14100"/>
          <ac:cxnSpMkLst>
            <pc:docMk/>
            <pc:sldMk cId="1862288018" sldId="2147483512"/>
            <ac:cxnSpMk id="24" creationId="{E215C563-2316-8473-4991-D6C7A2E2463D}"/>
          </ac:cxnSpMkLst>
        </pc:cxnChg>
      </pc:sldChg>
      <pc:sldChg chg="modSp add mod">
        <pc:chgData name="Jan Cordtz" userId="b5e592fb-fc8b-4323-a97d-691438b2e2da" providerId="ADAL" clId="{4E22EDF5-2883-5D57-B9C7-04E66950367B}" dt="2026-01-09T16:43:34.885" v="17284" actId="1076"/>
        <pc:sldMkLst>
          <pc:docMk/>
          <pc:sldMk cId="601751629" sldId="2147483513"/>
        </pc:sldMkLst>
        <pc:spChg chg="mod">
          <ac:chgData name="Jan Cordtz" userId="b5e592fb-fc8b-4323-a97d-691438b2e2da" providerId="ADAL" clId="{4E22EDF5-2883-5D57-B9C7-04E66950367B}" dt="2026-01-09T16:43:34.885" v="17284" actId="1076"/>
          <ac:spMkLst>
            <pc:docMk/>
            <pc:sldMk cId="601751629" sldId="2147483513"/>
            <ac:spMk id="2" creationId="{E2A2AB0C-17BD-2C27-55BB-00D5E1F44A82}"/>
          </ac:spMkLst>
        </pc:spChg>
      </pc:sldChg>
      <pc:sldChg chg="addSp modSp new mod modClrScheme chgLayout">
        <pc:chgData name="Jan Cordtz" userId="b5e592fb-fc8b-4323-a97d-691438b2e2da" providerId="ADAL" clId="{4E22EDF5-2883-5D57-B9C7-04E66950367B}" dt="2026-01-12T15:46:22.684" v="18680" actId="700"/>
        <pc:sldMkLst>
          <pc:docMk/>
          <pc:sldMk cId="616522107" sldId="2147483514"/>
        </pc:sldMkLst>
        <pc:spChg chg="add mod">
          <ac:chgData name="Jan Cordtz" userId="b5e592fb-fc8b-4323-a97d-691438b2e2da" providerId="ADAL" clId="{4E22EDF5-2883-5D57-B9C7-04E66950367B}" dt="2026-01-09T17:00:41.173" v="18394" actId="20577"/>
          <ac:spMkLst>
            <pc:docMk/>
            <pc:sldMk cId="616522107" sldId="2147483514"/>
            <ac:spMk id="3" creationId="{3A720869-6BA3-9AEC-ECE2-1978A9CF92E3}"/>
          </ac:spMkLst>
        </pc:spChg>
        <pc:picChg chg="add mod">
          <ac:chgData name="Jan Cordtz" userId="b5e592fb-fc8b-4323-a97d-691438b2e2da" providerId="ADAL" clId="{4E22EDF5-2883-5D57-B9C7-04E66950367B}" dt="2026-01-09T16:55:00.839" v="18269" actId="1076"/>
          <ac:picMkLst>
            <pc:docMk/>
            <pc:sldMk cId="616522107" sldId="2147483514"/>
            <ac:picMk id="2" creationId="{37C8E422-C8DF-4857-D9FD-64358322AF4F}"/>
          </ac:picMkLst>
        </pc:picChg>
      </pc:sldChg>
      <pc:sldChg chg="addSp modSp new mod modClrScheme chgLayout">
        <pc:chgData name="Jan Cordtz" userId="b5e592fb-fc8b-4323-a97d-691438b2e2da" providerId="ADAL" clId="{4E22EDF5-2883-5D57-B9C7-04E66950367B}" dt="2026-01-12T15:46:22.684" v="18680" actId="700"/>
        <pc:sldMkLst>
          <pc:docMk/>
          <pc:sldMk cId="2797546950" sldId="2147483515"/>
        </pc:sldMkLst>
        <pc:spChg chg="add mod">
          <ac:chgData name="Jan Cordtz" userId="b5e592fb-fc8b-4323-a97d-691438b2e2da" providerId="ADAL" clId="{4E22EDF5-2883-5D57-B9C7-04E66950367B}" dt="2026-01-09T17:00:53.883" v="18415" actId="20577"/>
          <ac:spMkLst>
            <pc:docMk/>
            <pc:sldMk cId="2797546950" sldId="2147483515"/>
            <ac:spMk id="3" creationId="{C72D5DA8-B702-ADC8-1E42-11E81540BF19}"/>
          </ac:spMkLst>
        </pc:spChg>
        <pc:picChg chg="add mod">
          <ac:chgData name="Jan Cordtz" userId="b5e592fb-fc8b-4323-a97d-691438b2e2da" providerId="ADAL" clId="{4E22EDF5-2883-5D57-B9C7-04E66950367B}" dt="2026-01-09T16:55:22.950" v="18272" actId="1076"/>
          <ac:picMkLst>
            <pc:docMk/>
            <pc:sldMk cId="2797546950" sldId="2147483515"/>
            <ac:picMk id="2" creationId="{4F870214-3BD0-B144-4FB4-363BEAA0E3D5}"/>
          </ac:picMkLst>
        </pc:picChg>
      </pc:sldChg>
      <pc:sldChg chg="addSp modSp new mod modClrScheme chgLayout">
        <pc:chgData name="Jan Cordtz" userId="b5e592fb-fc8b-4323-a97d-691438b2e2da" providerId="ADAL" clId="{4E22EDF5-2883-5D57-B9C7-04E66950367B}" dt="2026-01-12T15:46:22.684" v="18680" actId="700"/>
        <pc:sldMkLst>
          <pc:docMk/>
          <pc:sldMk cId="2054561170" sldId="2147483516"/>
        </pc:sldMkLst>
        <pc:spChg chg="add mod">
          <ac:chgData name="Jan Cordtz" userId="b5e592fb-fc8b-4323-a97d-691438b2e2da" providerId="ADAL" clId="{4E22EDF5-2883-5D57-B9C7-04E66950367B}" dt="2026-01-09T17:01:07.069" v="18433" actId="20577"/>
          <ac:spMkLst>
            <pc:docMk/>
            <pc:sldMk cId="2054561170" sldId="2147483516"/>
            <ac:spMk id="4" creationId="{C898A68F-11DA-E418-E60E-8F6FE333BAC7}"/>
          </ac:spMkLst>
        </pc:spChg>
        <pc:picChg chg="add mod">
          <ac:chgData name="Jan Cordtz" userId="b5e592fb-fc8b-4323-a97d-691438b2e2da" providerId="ADAL" clId="{4E22EDF5-2883-5D57-B9C7-04E66950367B}" dt="2026-01-09T16:56:12.423" v="18277" actId="1076"/>
          <ac:picMkLst>
            <pc:docMk/>
            <pc:sldMk cId="2054561170" sldId="2147483516"/>
            <ac:picMk id="3" creationId="{53AD094B-8A8D-16E4-13C5-EA028FEAB068}"/>
          </ac:picMkLst>
        </pc:picChg>
      </pc:sldChg>
      <pc:sldChg chg="addSp modSp new mod modClrScheme chgLayout">
        <pc:chgData name="Jan Cordtz" userId="b5e592fb-fc8b-4323-a97d-691438b2e2da" providerId="ADAL" clId="{4E22EDF5-2883-5D57-B9C7-04E66950367B}" dt="2026-01-12T15:46:22.684" v="18680" actId="700"/>
        <pc:sldMkLst>
          <pc:docMk/>
          <pc:sldMk cId="1741739982" sldId="2147483517"/>
        </pc:sldMkLst>
        <pc:spChg chg="add mod">
          <ac:chgData name="Jan Cordtz" userId="b5e592fb-fc8b-4323-a97d-691438b2e2da" providerId="ADAL" clId="{4E22EDF5-2883-5D57-B9C7-04E66950367B}" dt="2026-01-09T17:01:18.694" v="18453" actId="20577"/>
          <ac:spMkLst>
            <pc:docMk/>
            <pc:sldMk cId="1741739982" sldId="2147483517"/>
            <ac:spMk id="3" creationId="{71BBAC06-B514-F63B-9F83-5F0CEC6442A9}"/>
          </ac:spMkLst>
        </pc:spChg>
        <pc:picChg chg="add mod">
          <ac:chgData name="Jan Cordtz" userId="b5e592fb-fc8b-4323-a97d-691438b2e2da" providerId="ADAL" clId="{4E22EDF5-2883-5D57-B9C7-04E66950367B}" dt="2026-01-09T16:56:58.865" v="18280" actId="1076"/>
          <ac:picMkLst>
            <pc:docMk/>
            <pc:sldMk cId="1741739982" sldId="2147483517"/>
            <ac:picMk id="2" creationId="{7447C87A-3239-9E80-DB1C-6C712DFB186E}"/>
          </ac:picMkLst>
        </pc:picChg>
      </pc:sldChg>
      <pc:sldChg chg="addSp modSp new mod modClrScheme chgLayout">
        <pc:chgData name="Jan Cordtz" userId="b5e592fb-fc8b-4323-a97d-691438b2e2da" providerId="ADAL" clId="{4E22EDF5-2883-5D57-B9C7-04E66950367B}" dt="2026-01-12T15:46:22.684" v="18680" actId="700"/>
        <pc:sldMkLst>
          <pc:docMk/>
          <pc:sldMk cId="1222627861" sldId="2147483518"/>
        </pc:sldMkLst>
        <pc:spChg chg="add mod">
          <ac:chgData name="Jan Cordtz" userId="b5e592fb-fc8b-4323-a97d-691438b2e2da" providerId="ADAL" clId="{4E22EDF5-2883-5D57-B9C7-04E66950367B}" dt="2026-01-09T17:01:34.661" v="18478" actId="20577"/>
          <ac:spMkLst>
            <pc:docMk/>
            <pc:sldMk cId="1222627861" sldId="2147483518"/>
            <ac:spMk id="3" creationId="{8FFE6BE9-A001-9EBC-2E79-E9CDCDA8CFB5}"/>
          </ac:spMkLst>
        </pc:spChg>
        <pc:picChg chg="add mod">
          <ac:chgData name="Jan Cordtz" userId="b5e592fb-fc8b-4323-a97d-691438b2e2da" providerId="ADAL" clId="{4E22EDF5-2883-5D57-B9C7-04E66950367B}" dt="2026-01-09T16:57:20.417" v="18283" actId="1076"/>
          <ac:picMkLst>
            <pc:docMk/>
            <pc:sldMk cId="1222627861" sldId="2147483518"/>
            <ac:picMk id="2" creationId="{735C9B2B-7421-51FF-45B5-9BF6507BE69A}"/>
          </ac:picMkLst>
        </pc:picChg>
      </pc:sldChg>
      <pc:sldChg chg="addSp modSp new mod modClrScheme chgLayout">
        <pc:chgData name="Jan Cordtz" userId="b5e592fb-fc8b-4323-a97d-691438b2e2da" providerId="ADAL" clId="{4E22EDF5-2883-5D57-B9C7-04E66950367B}" dt="2026-01-12T15:46:22.684" v="18680" actId="700"/>
        <pc:sldMkLst>
          <pc:docMk/>
          <pc:sldMk cId="2720497309" sldId="2147483519"/>
        </pc:sldMkLst>
        <pc:spChg chg="add mod">
          <ac:chgData name="Jan Cordtz" userId="b5e592fb-fc8b-4323-a97d-691438b2e2da" providerId="ADAL" clId="{4E22EDF5-2883-5D57-B9C7-04E66950367B}" dt="2026-01-09T17:01:47.221" v="18490" actId="20577"/>
          <ac:spMkLst>
            <pc:docMk/>
            <pc:sldMk cId="2720497309" sldId="2147483519"/>
            <ac:spMk id="3" creationId="{5AB433E2-BD89-309D-7B12-6B491311D645}"/>
          </ac:spMkLst>
        </pc:spChg>
        <pc:picChg chg="add mod">
          <ac:chgData name="Jan Cordtz" userId="b5e592fb-fc8b-4323-a97d-691438b2e2da" providerId="ADAL" clId="{4E22EDF5-2883-5D57-B9C7-04E66950367B}" dt="2026-01-09T16:57:41.235" v="18286" actId="1076"/>
          <ac:picMkLst>
            <pc:docMk/>
            <pc:sldMk cId="2720497309" sldId="2147483519"/>
            <ac:picMk id="2" creationId="{3C870F9B-F143-4794-D6F0-6350F88AF675}"/>
          </ac:picMkLst>
        </pc:picChg>
      </pc:sldChg>
      <pc:sldChg chg="addSp delSp modSp new mod modClrScheme chgLayout">
        <pc:chgData name="Jan Cordtz" userId="b5e592fb-fc8b-4323-a97d-691438b2e2da" providerId="ADAL" clId="{4E22EDF5-2883-5D57-B9C7-04E66950367B}" dt="2026-01-12T15:46:22.684" v="18680" actId="700"/>
        <pc:sldMkLst>
          <pc:docMk/>
          <pc:sldMk cId="4154806739" sldId="2147483520"/>
        </pc:sldMkLst>
        <pc:spChg chg="add mod">
          <ac:chgData name="Jan Cordtz" userId="b5e592fb-fc8b-4323-a97d-691438b2e2da" providerId="ADAL" clId="{4E22EDF5-2883-5D57-B9C7-04E66950367B}" dt="2026-01-09T17:02:36.526" v="18511" actId="20577"/>
          <ac:spMkLst>
            <pc:docMk/>
            <pc:sldMk cId="4154806739" sldId="2147483520"/>
            <ac:spMk id="4" creationId="{FC5F8F8C-3907-1EC3-A172-9664CF638B3E}"/>
          </ac:spMkLst>
        </pc:spChg>
        <pc:picChg chg="add mod">
          <ac:chgData name="Jan Cordtz" userId="b5e592fb-fc8b-4323-a97d-691438b2e2da" providerId="ADAL" clId="{4E22EDF5-2883-5D57-B9C7-04E66950367B}" dt="2026-01-09T17:02:23.939" v="18493" actId="1076"/>
          <ac:picMkLst>
            <pc:docMk/>
            <pc:sldMk cId="4154806739" sldId="2147483520"/>
            <ac:picMk id="3" creationId="{D459E203-9D26-06AD-0A32-727F83D9BF02}"/>
          </ac:picMkLst>
        </pc:picChg>
      </pc:sldChg>
      <pc:sldChg chg="add">
        <pc:chgData name="Jan Cordtz" userId="b5e592fb-fc8b-4323-a97d-691438b2e2da" providerId="ADAL" clId="{4E22EDF5-2883-5D57-B9C7-04E66950367B}" dt="2026-01-09T17:02:43.336" v="18512"/>
        <pc:sldMkLst>
          <pc:docMk/>
          <pc:sldMk cId="1221220390" sldId="2147483521"/>
        </pc:sldMkLst>
      </pc:sldChg>
      <pc:sldChg chg="addSp delSp modSp new mod modClrScheme chgLayout">
        <pc:chgData name="Jan Cordtz" userId="b5e592fb-fc8b-4323-a97d-691438b2e2da" providerId="ADAL" clId="{4E22EDF5-2883-5D57-B9C7-04E66950367B}" dt="2026-01-12T15:46:26.691" v="18681" actId="700"/>
        <pc:sldMkLst>
          <pc:docMk/>
          <pc:sldMk cId="1532065344" sldId="2147483522"/>
        </pc:sldMkLst>
        <pc:spChg chg="del">
          <ac:chgData name="Jan Cordtz" userId="b5e592fb-fc8b-4323-a97d-691438b2e2da" providerId="ADAL" clId="{4E22EDF5-2883-5D57-B9C7-04E66950367B}" dt="2026-01-12T15:16:36.710" v="18541" actId="700"/>
          <ac:spMkLst>
            <pc:docMk/>
            <pc:sldMk cId="1532065344" sldId="2147483522"/>
            <ac:spMk id="2" creationId="{8C921F08-319C-EE20-494B-4CB6EF770A48}"/>
          </ac:spMkLst>
        </pc:spChg>
        <pc:picChg chg="add mod">
          <ac:chgData name="Jan Cordtz" userId="b5e592fb-fc8b-4323-a97d-691438b2e2da" providerId="ADAL" clId="{4E22EDF5-2883-5D57-B9C7-04E66950367B}" dt="2026-01-12T15:16:52.283" v="18549" actId="1076"/>
          <ac:picMkLst>
            <pc:docMk/>
            <pc:sldMk cId="1532065344" sldId="2147483522"/>
            <ac:picMk id="3" creationId="{D8A4F3FF-FEF5-65FF-F619-F7D841AA483B}"/>
          </ac:picMkLst>
        </pc:picChg>
      </pc:sldChg>
      <pc:sldChg chg="addSp modSp new mod modClrScheme chgLayout">
        <pc:chgData name="Jan Cordtz" userId="b5e592fb-fc8b-4323-a97d-691438b2e2da" providerId="ADAL" clId="{4E22EDF5-2883-5D57-B9C7-04E66950367B}" dt="2026-01-12T15:46:33.525" v="18682" actId="700"/>
        <pc:sldMkLst>
          <pc:docMk/>
          <pc:sldMk cId="1029413402" sldId="2147483523"/>
        </pc:sldMkLst>
        <pc:picChg chg="add mod">
          <ac:chgData name="Jan Cordtz" userId="b5e592fb-fc8b-4323-a97d-691438b2e2da" providerId="ADAL" clId="{4E22EDF5-2883-5D57-B9C7-04E66950367B}" dt="2026-01-12T15:18:40.523" v="18552" actId="1076"/>
          <ac:picMkLst>
            <pc:docMk/>
            <pc:sldMk cId="1029413402" sldId="2147483523"/>
            <ac:picMk id="2" creationId="{7C25884F-2BE9-4682-4596-1195878D6EDD}"/>
          </ac:picMkLst>
        </pc:picChg>
      </pc:sldChg>
      <pc:sldChg chg="addSp modSp new mod modClrScheme chgLayout">
        <pc:chgData name="Jan Cordtz" userId="b5e592fb-fc8b-4323-a97d-691438b2e2da" providerId="ADAL" clId="{4E22EDF5-2883-5D57-B9C7-04E66950367B}" dt="2026-01-12T15:46:33.525" v="18682" actId="700"/>
        <pc:sldMkLst>
          <pc:docMk/>
          <pc:sldMk cId="1314040163" sldId="2147483524"/>
        </pc:sldMkLst>
        <pc:picChg chg="add mod">
          <ac:chgData name="Jan Cordtz" userId="b5e592fb-fc8b-4323-a97d-691438b2e2da" providerId="ADAL" clId="{4E22EDF5-2883-5D57-B9C7-04E66950367B}" dt="2026-01-12T15:19:01.858" v="18555" actId="1076"/>
          <ac:picMkLst>
            <pc:docMk/>
            <pc:sldMk cId="1314040163" sldId="2147483524"/>
            <ac:picMk id="2" creationId="{22167C39-7D94-1BCB-A287-EB2BBC4605B8}"/>
          </ac:picMkLst>
        </pc:picChg>
      </pc:sldChg>
      <pc:sldChg chg="addSp modSp new mod modClrScheme chgLayout">
        <pc:chgData name="Jan Cordtz" userId="b5e592fb-fc8b-4323-a97d-691438b2e2da" providerId="ADAL" clId="{4E22EDF5-2883-5D57-B9C7-04E66950367B}" dt="2026-01-12T15:46:33.525" v="18682" actId="700"/>
        <pc:sldMkLst>
          <pc:docMk/>
          <pc:sldMk cId="1027418790" sldId="2147483525"/>
        </pc:sldMkLst>
        <pc:picChg chg="add mod">
          <ac:chgData name="Jan Cordtz" userId="b5e592fb-fc8b-4323-a97d-691438b2e2da" providerId="ADAL" clId="{4E22EDF5-2883-5D57-B9C7-04E66950367B}" dt="2026-01-12T15:20:41.192" v="18558"/>
          <ac:picMkLst>
            <pc:docMk/>
            <pc:sldMk cId="1027418790" sldId="2147483525"/>
            <ac:picMk id="2" creationId="{4BBA8D3F-04AE-5665-BE30-F7276FD5C48C}"/>
          </ac:picMkLst>
        </pc:picChg>
        <pc:picChg chg="add mod">
          <ac:chgData name="Jan Cordtz" userId="b5e592fb-fc8b-4323-a97d-691438b2e2da" providerId="ADAL" clId="{4E22EDF5-2883-5D57-B9C7-04E66950367B}" dt="2026-01-12T15:21:22.114" v="18560" actId="1076"/>
          <ac:picMkLst>
            <pc:docMk/>
            <pc:sldMk cId="1027418790" sldId="2147483525"/>
            <ac:picMk id="3" creationId="{9CE25F23-2E4D-9E41-6B19-7A0E643F5F59}"/>
          </ac:picMkLst>
        </pc:picChg>
      </pc:sldChg>
      <pc:sldChg chg="addSp modSp new mod modClrScheme chgLayout">
        <pc:chgData name="Jan Cordtz" userId="b5e592fb-fc8b-4323-a97d-691438b2e2da" providerId="ADAL" clId="{4E22EDF5-2883-5D57-B9C7-04E66950367B}" dt="2026-01-12T15:46:33.525" v="18682" actId="700"/>
        <pc:sldMkLst>
          <pc:docMk/>
          <pc:sldMk cId="1098800254" sldId="2147483526"/>
        </pc:sldMkLst>
        <pc:picChg chg="add mod">
          <ac:chgData name="Jan Cordtz" userId="b5e592fb-fc8b-4323-a97d-691438b2e2da" providerId="ADAL" clId="{4E22EDF5-2883-5D57-B9C7-04E66950367B}" dt="2026-01-12T15:22:12.567" v="18563" actId="1076"/>
          <ac:picMkLst>
            <pc:docMk/>
            <pc:sldMk cId="1098800254" sldId="2147483526"/>
            <ac:picMk id="2" creationId="{7C66AEC1-C6AA-FD56-0122-3B852B464530}"/>
          </ac:picMkLst>
        </pc:picChg>
      </pc:sldChg>
      <pc:sldChg chg="addSp modSp new mod modClrScheme chgLayout">
        <pc:chgData name="Jan Cordtz" userId="b5e592fb-fc8b-4323-a97d-691438b2e2da" providerId="ADAL" clId="{4E22EDF5-2883-5D57-B9C7-04E66950367B}" dt="2026-01-12T15:46:33.525" v="18682" actId="700"/>
        <pc:sldMkLst>
          <pc:docMk/>
          <pc:sldMk cId="1370368425" sldId="2147483527"/>
        </pc:sldMkLst>
        <pc:picChg chg="add mod">
          <ac:chgData name="Jan Cordtz" userId="b5e592fb-fc8b-4323-a97d-691438b2e2da" providerId="ADAL" clId="{4E22EDF5-2883-5D57-B9C7-04E66950367B}" dt="2026-01-12T15:22:44.149" v="18566" actId="1076"/>
          <ac:picMkLst>
            <pc:docMk/>
            <pc:sldMk cId="1370368425" sldId="2147483527"/>
            <ac:picMk id="2" creationId="{62ABB2A6-2E39-8DEE-55D2-1066F63ED976}"/>
          </ac:picMkLst>
        </pc:picChg>
      </pc:sldChg>
      <pc:sldChg chg="addSp modSp new mod modClrScheme chgLayout">
        <pc:chgData name="Jan Cordtz" userId="b5e592fb-fc8b-4323-a97d-691438b2e2da" providerId="ADAL" clId="{4E22EDF5-2883-5D57-B9C7-04E66950367B}" dt="2026-01-12T15:46:33.525" v="18682" actId="700"/>
        <pc:sldMkLst>
          <pc:docMk/>
          <pc:sldMk cId="3302183867" sldId="2147483528"/>
        </pc:sldMkLst>
        <pc:picChg chg="add mod">
          <ac:chgData name="Jan Cordtz" userId="b5e592fb-fc8b-4323-a97d-691438b2e2da" providerId="ADAL" clId="{4E22EDF5-2883-5D57-B9C7-04E66950367B}" dt="2026-01-12T15:23:28.869" v="18569" actId="1076"/>
          <ac:picMkLst>
            <pc:docMk/>
            <pc:sldMk cId="3302183867" sldId="2147483528"/>
            <ac:picMk id="2" creationId="{73BAF6CD-35AF-5238-E6F7-E06298925BD5}"/>
          </ac:picMkLst>
        </pc:picChg>
      </pc:sldChg>
      <pc:sldChg chg="addSp modSp new mod modClrScheme chgLayout">
        <pc:chgData name="Jan Cordtz" userId="b5e592fb-fc8b-4323-a97d-691438b2e2da" providerId="ADAL" clId="{4E22EDF5-2883-5D57-B9C7-04E66950367B}" dt="2026-01-12T15:46:33.525" v="18682" actId="700"/>
        <pc:sldMkLst>
          <pc:docMk/>
          <pc:sldMk cId="3576385204" sldId="2147483529"/>
        </pc:sldMkLst>
        <pc:picChg chg="add mod">
          <ac:chgData name="Jan Cordtz" userId="b5e592fb-fc8b-4323-a97d-691438b2e2da" providerId="ADAL" clId="{4E22EDF5-2883-5D57-B9C7-04E66950367B}" dt="2026-01-12T15:23:53.758" v="18572"/>
          <ac:picMkLst>
            <pc:docMk/>
            <pc:sldMk cId="3576385204" sldId="2147483529"/>
            <ac:picMk id="2" creationId="{F87A5035-A0CA-8CCA-FBE4-3426E6404B89}"/>
          </ac:picMkLst>
        </pc:picChg>
        <pc:picChg chg="add mod">
          <ac:chgData name="Jan Cordtz" userId="b5e592fb-fc8b-4323-a97d-691438b2e2da" providerId="ADAL" clId="{4E22EDF5-2883-5D57-B9C7-04E66950367B}" dt="2026-01-12T15:24:12.241" v="18574" actId="1076"/>
          <ac:picMkLst>
            <pc:docMk/>
            <pc:sldMk cId="3576385204" sldId="2147483529"/>
            <ac:picMk id="3" creationId="{B7C1FC9B-137D-DC29-3CE2-17F1677C8046}"/>
          </ac:picMkLst>
        </pc:picChg>
      </pc:sldChg>
      <pc:sldChg chg="addSp modSp new mod modClrScheme chgLayout">
        <pc:chgData name="Jan Cordtz" userId="b5e592fb-fc8b-4323-a97d-691438b2e2da" providerId="ADAL" clId="{4E22EDF5-2883-5D57-B9C7-04E66950367B}" dt="2026-01-12T15:46:43.747" v="18683" actId="700"/>
        <pc:sldMkLst>
          <pc:docMk/>
          <pc:sldMk cId="3074930023" sldId="2147483530"/>
        </pc:sldMkLst>
        <pc:picChg chg="add mod">
          <ac:chgData name="Jan Cordtz" userId="b5e592fb-fc8b-4323-a97d-691438b2e2da" providerId="ADAL" clId="{4E22EDF5-2883-5D57-B9C7-04E66950367B}" dt="2026-01-12T15:25:16.354" v="18577" actId="1076"/>
          <ac:picMkLst>
            <pc:docMk/>
            <pc:sldMk cId="3074930023" sldId="2147483530"/>
            <ac:picMk id="2" creationId="{D9AB5C00-B330-016C-AFAD-6B5E3E10AC69}"/>
          </ac:picMkLst>
        </pc:picChg>
      </pc:sldChg>
      <pc:sldChg chg="addSp modSp new mod modClrScheme chgLayout">
        <pc:chgData name="Jan Cordtz" userId="b5e592fb-fc8b-4323-a97d-691438b2e2da" providerId="ADAL" clId="{4E22EDF5-2883-5D57-B9C7-04E66950367B}" dt="2026-01-12T15:46:43.747" v="18683" actId="700"/>
        <pc:sldMkLst>
          <pc:docMk/>
          <pc:sldMk cId="3132583929" sldId="2147483531"/>
        </pc:sldMkLst>
        <pc:picChg chg="add mod">
          <ac:chgData name="Jan Cordtz" userId="b5e592fb-fc8b-4323-a97d-691438b2e2da" providerId="ADAL" clId="{4E22EDF5-2883-5D57-B9C7-04E66950367B}" dt="2026-01-12T15:26:34.920" v="18580" actId="1076"/>
          <ac:picMkLst>
            <pc:docMk/>
            <pc:sldMk cId="3132583929" sldId="2147483531"/>
            <ac:picMk id="2" creationId="{1F30913A-B84A-537F-9757-01424F2B49EA}"/>
          </ac:picMkLst>
        </pc:picChg>
        <pc:picChg chg="add mod">
          <ac:chgData name="Jan Cordtz" userId="b5e592fb-fc8b-4323-a97d-691438b2e2da" providerId="ADAL" clId="{4E22EDF5-2883-5D57-B9C7-04E66950367B}" dt="2026-01-12T15:27:22.077" v="18585" actId="1076"/>
          <ac:picMkLst>
            <pc:docMk/>
            <pc:sldMk cId="3132583929" sldId="2147483531"/>
            <ac:picMk id="3" creationId="{05D94035-0545-84FE-0BC4-052FB89AFBA6}"/>
          </ac:picMkLst>
        </pc:picChg>
      </pc:sldChg>
      <pc:sldChg chg="addSp modSp new mod modClrScheme chgLayout">
        <pc:chgData name="Jan Cordtz" userId="b5e592fb-fc8b-4323-a97d-691438b2e2da" providerId="ADAL" clId="{4E22EDF5-2883-5D57-B9C7-04E66950367B}" dt="2026-01-12T15:46:43.747" v="18683" actId="700"/>
        <pc:sldMkLst>
          <pc:docMk/>
          <pc:sldMk cId="1102901999" sldId="2147483532"/>
        </pc:sldMkLst>
        <pc:picChg chg="add mod">
          <ac:chgData name="Jan Cordtz" userId="b5e592fb-fc8b-4323-a97d-691438b2e2da" providerId="ADAL" clId="{4E22EDF5-2883-5D57-B9C7-04E66950367B}" dt="2026-01-12T15:28:21.332" v="18588" actId="1076"/>
          <ac:picMkLst>
            <pc:docMk/>
            <pc:sldMk cId="1102901999" sldId="2147483532"/>
            <ac:picMk id="2" creationId="{12A089F8-229D-6643-AF3A-D09D95F6056A}"/>
          </ac:picMkLst>
        </pc:picChg>
      </pc:sldChg>
      <pc:sldChg chg="addSp modSp new mod modClrScheme chgLayout">
        <pc:chgData name="Jan Cordtz" userId="b5e592fb-fc8b-4323-a97d-691438b2e2da" providerId="ADAL" clId="{4E22EDF5-2883-5D57-B9C7-04E66950367B}" dt="2026-01-12T15:46:43.747" v="18683" actId="700"/>
        <pc:sldMkLst>
          <pc:docMk/>
          <pc:sldMk cId="3162534437" sldId="2147483533"/>
        </pc:sldMkLst>
        <pc:picChg chg="add mod">
          <ac:chgData name="Jan Cordtz" userId="b5e592fb-fc8b-4323-a97d-691438b2e2da" providerId="ADAL" clId="{4E22EDF5-2883-5D57-B9C7-04E66950367B}" dt="2026-01-12T15:32:03.565" v="18591" actId="1076"/>
          <ac:picMkLst>
            <pc:docMk/>
            <pc:sldMk cId="3162534437" sldId="2147483533"/>
            <ac:picMk id="2" creationId="{0B6FA997-46DD-E4CE-9C40-8139EA558AB7}"/>
          </ac:picMkLst>
        </pc:picChg>
      </pc:sldChg>
      <pc:sldChg chg="addSp modSp new mod modClrScheme chgLayout">
        <pc:chgData name="Jan Cordtz" userId="b5e592fb-fc8b-4323-a97d-691438b2e2da" providerId="ADAL" clId="{4E22EDF5-2883-5D57-B9C7-04E66950367B}" dt="2026-01-12T15:46:43.747" v="18683" actId="700"/>
        <pc:sldMkLst>
          <pc:docMk/>
          <pc:sldMk cId="2018333892" sldId="2147483534"/>
        </pc:sldMkLst>
        <pc:picChg chg="add mod">
          <ac:chgData name="Jan Cordtz" userId="b5e592fb-fc8b-4323-a97d-691438b2e2da" providerId="ADAL" clId="{4E22EDF5-2883-5D57-B9C7-04E66950367B}" dt="2026-01-12T15:32:54.002" v="18594" actId="1076"/>
          <ac:picMkLst>
            <pc:docMk/>
            <pc:sldMk cId="2018333892" sldId="2147483534"/>
            <ac:picMk id="2" creationId="{8E7DFD26-3C22-798A-10A9-C7C2C6721AE7}"/>
          </ac:picMkLst>
        </pc:picChg>
      </pc:sldChg>
      <pc:sldChg chg="addSp modSp new mod modClrScheme chgLayout">
        <pc:chgData name="Jan Cordtz" userId="b5e592fb-fc8b-4323-a97d-691438b2e2da" providerId="ADAL" clId="{4E22EDF5-2883-5D57-B9C7-04E66950367B}" dt="2026-01-12T15:46:43.747" v="18683" actId="700"/>
        <pc:sldMkLst>
          <pc:docMk/>
          <pc:sldMk cId="4122561559" sldId="2147483535"/>
        </pc:sldMkLst>
        <pc:picChg chg="add mod">
          <ac:chgData name="Jan Cordtz" userId="b5e592fb-fc8b-4323-a97d-691438b2e2da" providerId="ADAL" clId="{4E22EDF5-2883-5D57-B9C7-04E66950367B}" dt="2026-01-12T15:34:17.796" v="18597" actId="1076"/>
          <ac:picMkLst>
            <pc:docMk/>
            <pc:sldMk cId="4122561559" sldId="2147483535"/>
            <ac:picMk id="2" creationId="{F4FB59FA-E78E-8235-F777-BA98A3290981}"/>
          </ac:picMkLst>
        </pc:picChg>
      </pc:sldChg>
      <pc:sldChg chg="addSp modSp new mod modClrScheme chgLayout">
        <pc:chgData name="Jan Cordtz" userId="b5e592fb-fc8b-4323-a97d-691438b2e2da" providerId="ADAL" clId="{4E22EDF5-2883-5D57-B9C7-04E66950367B}" dt="2026-01-12T15:46:43.747" v="18683" actId="700"/>
        <pc:sldMkLst>
          <pc:docMk/>
          <pc:sldMk cId="1486534540" sldId="2147483536"/>
        </pc:sldMkLst>
        <pc:picChg chg="add mod">
          <ac:chgData name="Jan Cordtz" userId="b5e592fb-fc8b-4323-a97d-691438b2e2da" providerId="ADAL" clId="{4E22EDF5-2883-5D57-B9C7-04E66950367B}" dt="2026-01-12T15:37:11.468" v="18600" actId="1076"/>
          <ac:picMkLst>
            <pc:docMk/>
            <pc:sldMk cId="1486534540" sldId="2147483536"/>
            <ac:picMk id="2" creationId="{589E7940-944B-9398-0777-7987514A82AC}"/>
          </ac:picMkLst>
        </pc:picChg>
      </pc:sldChg>
      <pc:sldChg chg="addSp modSp new mod modClrScheme chgLayout">
        <pc:chgData name="Jan Cordtz" userId="b5e592fb-fc8b-4323-a97d-691438b2e2da" providerId="ADAL" clId="{4E22EDF5-2883-5D57-B9C7-04E66950367B}" dt="2026-01-12T16:03:22.105" v="18724"/>
        <pc:sldMkLst>
          <pc:docMk/>
          <pc:sldMk cId="3030469155" sldId="2147483537"/>
        </pc:sldMkLst>
        <pc:picChg chg="add mod">
          <ac:chgData name="Jan Cordtz" userId="b5e592fb-fc8b-4323-a97d-691438b2e2da" providerId="ADAL" clId="{4E22EDF5-2883-5D57-B9C7-04E66950367B}" dt="2026-01-12T15:39:05.995" v="18603" actId="1076"/>
          <ac:picMkLst>
            <pc:docMk/>
            <pc:sldMk cId="3030469155" sldId="2147483537"/>
            <ac:picMk id="2" creationId="{84D185BF-E4C8-4521-7E74-C53223357499}"/>
          </ac:picMkLst>
        </pc:picChg>
        <pc:picChg chg="add mod">
          <ac:chgData name="Jan Cordtz" userId="b5e592fb-fc8b-4323-a97d-691438b2e2da" providerId="ADAL" clId="{4E22EDF5-2883-5D57-B9C7-04E66950367B}" dt="2026-01-12T16:03:22.105" v="18724"/>
          <ac:picMkLst>
            <pc:docMk/>
            <pc:sldMk cId="3030469155" sldId="2147483537"/>
            <ac:picMk id="3" creationId="{C3B9B898-618A-150A-3FD2-40FA512D8F47}"/>
          </ac:picMkLst>
        </pc:picChg>
      </pc:sldChg>
      <pc:sldChg chg="addSp modSp new mod">
        <pc:chgData name="Jan Cordtz" userId="b5e592fb-fc8b-4323-a97d-691438b2e2da" providerId="ADAL" clId="{4E22EDF5-2883-5D57-B9C7-04E66950367B}" dt="2026-01-12T15:39:59.793" v="18627" actId="1076"/>
        <pc:sldMkLst>
          <pc:docMk/>
          <pc:sldMk cId="3818176110" sldId="2147483538"/>
        </pc:sldMkLst>
        <pc:spChg chg="add mod">
          <ac:chgData name="Jan Cordtz" userId="b5e592fb-fc8b-4323-a97d-691438b2e2da" providerId="ADAL" clId="{4E22EDF5-2883-5D57-B9C7-04E66950367B}" dt="2026-01-12T15:39:59.793" v="18627" actId="1076"/>
          <ac:spMkLst>
            <pc:docMk/>
            <pc:sldMk cId="3818176110" sldId="2147483538"/>
            <ac:spMk id="2" creationId="{53FE3664-D5A8-B15D-55B7-894A549FB42F}"/>
          </ac:spMkLst>
        </pc:spChg>
      </pc:sldChg>
      <pc:sldChg chg="modSp add mod">
        <pc:chgData name="Jan Cordtz" userId="b5e592fb-fc8b-4323-a97d-691438b2e2da" providerId="ADAL" clId="{4E22EDF5-2883-5D57-B9C7-04E66950367B}" dt="2026-01-12T15:40:33.608" v="18646" actId="20577"/>
        <pc:sldMkLst>
          <pc:docMk/>
          <pc:sldMk cId="815361621" sldId="2147483539"/>
        </pc:sldMkLst>
        <pc:spChg chg="mod">
          <ac:chgData name="Jan Cordtz" userId="b5e592fb-fc8b-4323-a97d-691438b2e2da" providerId="ADAL" clId="{4E22EDF5-2883-5D57-B9C7-04E66950367B}" dt="2026-01-12T15:40:33.608" v="18646" actId="20577"/>
          <ac:spMkLst>
            <pc:docMk/>
            <pc:sldMk cId="815361621" sldId="2147483539"/>
            <ac:spMk id="2" creationId="{74A7BCC7-3DAC-D4D0-0E6F-C65FA3E656FB}"/>
          </ac:spMkLst>
        </pc:spChg>
      </pc:sldChg>
      <pc:sldChg chg="modSp add mod">
        <pc:chgData name="Jan Cordtz" userId="b5e592fb-fc8b-4323-a97d-691438b2e2da" providerId="ADAL" clId="{4E22EDF5-2883-5D57-B9C7-04E66950367B}" dt="2026-01-12T15:41:15.023" v="18660" actId="20577"/>
        <pc:sldMkLst>
          <pc:docMk/>
          <pc:sldMk cId="1209046751" sldId="2147483540"/>
        </pc:sldMkLst>
        <pc:spChg chg="mod">
          <ac:chgData name="Jan Cordtz" userId="b5e592fb-fc8b-4323-a97d-691438b2e2da" providerId="ADAL" clId="{4E22EDF5-2883-5D57-B9C7-04E66950367B}" dt="2026-01-12T15:41:15.023" v="18660" actId="20577"/>
          <ac:spMkLst>
            <pc:docMk/>
            <pc:sldMk cId="1209046751" sldId="2147483540"/>
            <ac:spMk id="2" creationId="{30FCB53C-99F6-5084-F8C2-8EE39F746B8E}"/>
          </ac:spMkLst>
        </pc:spChg>
      </pc:sldChg>
      <pc:sldChg chg="new">
        <pc:chgData name="Jan Cordtz" userId="b5e592fb-fc8b-4323-a97d-691438b2e2da" providerId="ADAL" clId="{4E22EDF5-2883-5D57-B9C7-04E66950367B}" dt="2026-01-12T15:41:52.702" v="18661" actId="680"/>
        <pc:sldMkLst>
          <pc:docMk/>
          <pc:sldMk cId="1956424418" sldId="2147483541"/>
        </pc:sldMkLst>
      </pc:sldChg>
      <pc:sldChg chg="addSp modSp new mod modClrScheme chgLayout">
        <pc:chgData name="Jan Cordtz" userId="b5e592fb-fc8b-4323-a97d-691438b2e2da" providerId="ADAL" clId="{4E22EDF5-2883-5D57-B9C7-04E66950367B}" dt="2026-01-12T15:47:53.166" v="18686" actId="700"/>
        <pc:sldMkLst>
          <pc:docMk/>
          <pc:sldMk cId="4057401030" sldId="2147483542"/>
        </pc:sldMkLst>
        <pc:picChg chg="add mod">
          <ac:chgData name="Jan Cordtz" userId="b5e592fb-fc8b-4323-a97d-691438b2e2da" providerId="ADAL" clId="{4E22EDF5-2883-5D57-B9C7-04E66950367B}" dt="2026-01-12T15:42:05.206" v="18664" actId="1076"/>
          <ac:picMkLst>
            <pc:docMk/>
            <pc:sldMk cId="4057401030" sldId="2147483542"/>
            <ac:picMk id="2" creationId="{B773CE37-CDBE-C90F-764A-35A7C5560C43}"/>
          </ac:picMkLst>
        </pc:picChg>
      </pc:sldChg>
      <pc:sldChg chg="addSp modSp new mod modClrScheme chgLayout">
        <pc:chgData name="Jan Cordtz" userId="b5e592fb-fc8b-4323-a97d-691438b2e2da" providerId="ADAL" clId="{4E22EDF5-2883-5D57-B9C7-04E66950367B}" dt="2026-01-12T15:50:24.748" v="18693" actId="700"/>
        <pc:sldMkLst>
          <pc:docMk/>
          <pc:sldMk cId="4159630928" sldId="2147483543"/>
        </pc:sldMkLst>
        <pc:picChg chg="add mod">
          <ac:chgData name="Jan Cordtz" userId="b5e592fb-fc8b-4323-a97d-691438b2e2da" providerId="ADAL" clId="{4E22EDF5-2883-5D57-B9C7-04E66950367B}" dt="2026-01-12T15:42:58.660" v="18667" actId="1076"/>
          <ac:picMkLst>
            <pc:docMk/>
            <pc:sldMk cId="4159630928" sldId="2147483543"/>
            <ac:picMk id="2" creationId="{3277F05C-45EE-6E29-CAB5-9D6C90017D8A}"/>
          </ac:picMkLst>
        </pc:picChg>
      </pc:sldChg>
      <pc:sldChg chg="addSp modSp new mod">
        <pc:chgData name="Jan Cordtz" userId="b5e592fb-fc8b-4323-a97d-691438b2e2da" providerId="ADAL" clId="{4E22EDF5-2883-5D57-B9C7-04E66950367B}" dt="2026-01-12T15:48:23.965" v="18689" actId="1076"/>
        <pc:sldMkLst>
          <pc:docMk/>
          <pc:sldMk cId="3812067806" sldId="2147483544"/>
        </pc:sldMkLst>
        <pc:picChg chg="add mod">
          <ac:chgData name="Jan Cordtz" userId="b5e592fb-fc8b-4323-a97d-691438b2e2da" providerId="ADAL" clId="{4E22EDF5-2883-5D57-B9C7-04E66950367B}" dt="2026-01-12T15:48:23.965" v="18689" actId="1076"/>
          <ac:picMkLst>
            <pc:docMk/>
            <pc:sldMk cId="3812067806" sldId="2147483544"/>
            <ac:picMk id="2" creationId="{ADD52E63-D090-AA99-E140-00E3A171EC07}"/>
          </ac:picMkLst>
        </pc:picChg>
      </pc:sldChg>
      <pc:sldChg chg="addSp modSp new mod modClrScheme chgLayout">
        <pc:chgData name="Jan Cordtz" userId="b5e592fb-fc8b-4323-a97d-691438b2e2da" providerId="ADAL" clId="{4E22EDF5-2883-5D57-B9C7-04E66950367B}" dt="2026-01-12T15:50:21.397" v="18692" actId="700"/>
        <pc:sldMkLst>
          <pc:docMk/>
          <pc:sldMk cId="2183447959" sldId="2147483545"/>
        </pc:sldMkLst>
        <pc:picChg chg="add mod">
          <ac:chgData name="Jan Cordtz" userId="b5e592fb-fc8b-4323-a97d-691438b2e2da" providerId="ADAL" clId="{4E22EDF5-2883-5D57-B9C7-04E66950367B}" dt="2026-01-12T15:50:17.353" v="18691"/>
          <ac:picMkLst>
            <pc:docMk/>
            <pc:sldMk cId="2183447959" sldId="2147483545"/>
            <ac:picMk id="2" creationId="{03930739-62F1-EE82-2203-B84ABADE95A1}"/>
          </ac:picMkLst>
        </pc:picChg>
      </pc:sldChg>
      <pc:sldChg chg="addSp modSp new mod">
        <pc:chgData name="Jan Cordtz" userId="b5e592fb-fc8b-4323-a97d-691438b2e2da" providerId="ADAL" clId="{4E22EDF5-2883-5D57-B9C7-04E66950367B}" dt="2026-01-12T15:51:24.875" v="18696" actId="1076"/>
        <pc:sldMkLst>
          <pc:docMk/>
          <pc:sldMk cId="822281442" sldId="2147483546"/>
        </pc:sldMkLst>
        <pc:picChg chg="add mod">
          <ac:chgData name="Jan Cordtz" userId="b5e592fb-fc8b-4323-a97d-691438b2e2da" providerId="ADAL" clId="{4E22EDF5-2883-5D57-B9C7-04E66950367B}" dt="2026-01-12T15:51:24.875" v="18696" actId="1076"/>
          <ac:picMkLst>
            <pc:docMk/>
            <pc:sldMk cId="822281442" sldId="2147483546"/>
            <ac:picMk id="2" creationId="{91EB6BDE-6BE3-4709-B108-AB9D723B7AE7}"/>
          </ac:picMkLst>
        </pc:picChg>
      </pc:sldChg>
      <pc:sldChg chg="addSp modSp new mod">
        <pc:chgData name="Jan Cordtz" userId="b5e592fb-fc8b-4323-a97d-691438b2e2da" providerId="ADAL" clId="{4E22EDF5-2883-5D57-B9C7-04E66950367B}" dt="2026-01-12T15:52:32.205" v="18699" actId="1076"/>
        <pc:sldMkLst>
          <pc:docMk/>
          <pc:sldMk cId="411037855" sldId="2147483547"/>
        </pc:sldMkLst>
        <pc:picChg chg="add mod">
          <ac:chgData name="Jan Cordtz" userId="b5e592fb-fc8b-4323-a97d-691438b2e2da" providerId="ADAL" clId="{4E22EDF5-2883-5D57-B9C7-04E66950367B}" dt="2026-01-12T15:52:32.205" v="18699" actId="1076"/>
          <ac:picMkLst>
            <pc:docMk/>
            <pc:sldMk cId="411037855" sldId="2147483547"/>
            <ac:picMk id="2" creationId="{FA47983E-3E75-AC2F-5031-6369A0D92B39}"/>
          </ac:picMkLst>
        </pc:picChg>
      </pc:sldChg>
      <pc:sldChg chg="addSp modSp new mod">
        <pc:chgData name="Jan Cordtz" userId="b5e592fb-fc8b-4323-a97d-691438b2e2da" providerId="ADAL" clId="{4E22EDF5-2883-5D57-B9C7-04E66950367B}" dt="2026-01-12T15:53:15.281" v="18702" actId="1076"/>
        <pc:sldMkLst>
          <pc:docMk/>
          <pc:sldMk cId="754188695" sldId="2147483548"/>
        </pc:sldMkLst>
        <pc:picChg chg="add mod">
          <ac:chgData name="Jan Cordtz" userId="b5e592fb-fc8b-4323-a97d-691438b2e2da" providerId="ADAL" clId="{4E22EDF5-2883-5D57-B9C7-04E66950367B}" dt="2026-01-12T15:53:15.281" v="18702" actId="1076"/>
          <ac:picMkLst>
            <pc:docMk/>
            <pc:sldMk cId="754188695" sldId="2147483548"/>
            <ac:picMk id="2" creationId="{C2FE75D3-6DFF-2C26-AA4D-CB6BD2A0EF89}"/>
          </ac:picMkLst>
        </pc:picChg>
      </pc:sldChg>
      <pc:sldChg chg="addSp modSp new mod">
        <pc:chgData name="Jan Cordtz" userId="b5e592fb-fc8b-4323-a97d-691438b2e2da" providerId="ADAL" clId="{4E22EDF5-2883-5D57-B9C7-04E66950367B}" dt="2026-01-12T15:53:51.723" v="18705" actId="1076"/>
        <pc:sldMkLst>
          <pc:docMk/>
          <pc:sldMk cId="4097596817" sldId="2147483549"/>
        </pc:sldMkLst>
        <pc:picChg chg="add mod">
          <ac:chgData name="Jan Cordtz" userId="b5e592fb-fc8b-4323-a97d-691438b2e2da" providerId="ADAL" clId="{4E22EDF5-2883-5D57-B9C7-04E66950367B}" dt="2026-01-12T15:53:51.723" v="18705" actId="1076"/>
          <ac:picMkLst>
            <pc:docMk/>
            <pc:sldMk cId="4097596817" sldId="2147483549"/>
            <ac:picMk id="2" creationId="{32333893-F1A8-01B7-0CB4-2A0598DD5992}"/>
          </ac:picMkLst>
        </pc:picChg>
      </pc:sldChg>
      <pc:sldChg chg="addSp modSp new mod">
        <pc:chgData name="Jan Cordtz" userId="b5e592fb-fc8b-4323-a97d-691438b2e2da" providerId="ADAL" clId="{4E22EDF5-2883-5D57-B9C7-04E66950367B}" dt="2026-01-12T15:54:34.907" v="18708" actId="1076"/>
        <pc:sldMkLst>
          <pc:docMk/>
          <pc:sldMk cId="3601767197" sldId="2147483550"/>
        </pc:sldMkLst>
        <pc:picChg chg="add mod">
          <ac:chgData name="Jan Cordtz" userId="b5e592fb-fc8b-4323-a97d-691438b2e2da" providerId="ADAL" clId="{4E22EDF5-2883-5D57-B9C7-04E66950367B}" dt="2026-01-12T15:54:34.907" v="18708" actId="1076"/>
          <ac:picMkLst>
            <pc:docMk/>
            <pc:sldMk cId="3601767197" sldId="2147483550"/>
            <ac:picMk id="2" creationId="{5AA81F63-361A-3918-049E-053258D3E2C1}"/>
          </ac:picMkLst>
        </pc:picChg>
      </pc:sldChg>
      <pc:sldChg chg="addSp modSp new mod">
        <pc:chgData name="Jan Cordtz" userId="b5e592fb-fc8b-4323-a97d-691438b2e2da" providerId="ADAL" clId="{4E22EDF5-2883-5D57-B9C7-04E66950367B}" dt="2026-01-12T15:55:36.323" v="18711" actId="1076"/>
        <pc:sldMkLst>
          <pc:docMk/>
          <pc:sldMk cId="339308831" sldId="2147483551"/>
        </pc:sldMkLst>
        <pc:picChg chg="add mod">
          <ac:chgData name="Jan Cordtz" userId="b5e592fb-fc8b-4323-a97d-691438b2e2da" providerId="ADAL" clId="{4E22EDF5-2883-5D57-B9C7-04E66950367B}" dt="2026-01-12T15:55:36.323" v="18711" actId="1076"/>
          <ac:picMkLst>
            <pc:docMk/>
            <pc:sldMk cId="339308831" sldId="2147483551"/>
            <ac:picMk id="2" creationId="{A9A78F37-C32A-A250-BAB5-D69B5ADB5269}"/>
          </ac:picMkLst>
        </pc:picChg>
      </pc:sldChg>
      <pc:sldChg chg="addSp modSp new mod">
        <pc:chgData name="Jan Cordtz" userId="b5e592fb-fc8b-4323-a97d-691438b2e2da" providerId="ADAL" clId="{4E22EDF5-2883-5D57-B9C7-04E66950367B}" dt="2026-01-12T15:56:10.248" v="18714" actId="1076"/>
        <pc:sldMkLst>
          <pc:docMk/>
          <pc:sldMk cId="4213806525" sldId="2147483552"/>
        </pc:sldMkLst>
        <pc:picChg chg="add mod">
          <ac:chgData name="Jan Cordtz" userId="b5e592fb-fc8b-4323-a97d-691438b2e2da" providerId="ADAL" clId="{4E22EDF5-2883-5D57-B9C7-04E66950367B}" dt="2026-01-12T15:56:10.248" v="18714" actId="1076"/>
          <ac:picMkLst>
            <pc:docMk/>
            <pc:sldMk cId="4213806525" sldId="2147483552"/>
            <ac:picMk id="2" creationId="{5B526714-D89C-96C5-7B71-29B8BDA95982}"/>
          </ac:picMkLst>
        </pc:picChg>
      </pc:sldChg>
      <pc:sldChg chg="addSp modSp new mod">
        <pc:chgData name="Jan Cordtz" userId="b5e592fb-fc8b-4323-a97d-691438b2e2da" providerId="ADAL" clId="{4E22EDF5-2883-5D57-B9C7-04E66950367B}" dt="2026-01-12T16:00:16.776" v="18717" actId="1076"/>
        <pc:sldMkLst>
          <pc:docMk/>
          <pc:sldMk cId="134661414" sldId="2147483553"/>
        </pc:sldMkLst>
        <pc:picChg chg="add mod">
          <ac:chgData name="Jan Cordtz" userId="b5e592fb-fc8b-4323-a97d-691438b2e2da" providerId="ADAL" clId="{4E22EDF5-2883-5D57-B9C7-04E66950367B}" dt="2026-01-12T16:00:16.776" v="18717" actId="1076"/>
          <ac:picMkLst>
            <pc:docMk/>
            <pc:sldMk cId="134661414" sldId="2147483553"/>
            <ac:picMk id="2" creationId="{E8713AC0-FB6A-9A31-F167-87677D93FD90}"/>
          </ac:picMkLst>
        </pc:picChg>
      </pc:sldChg>
      <pc:sldChg chg="addSp modSp new mod">
        <pc:chgData name="Jan Cordtz" userId="b5e592fb-fc8b-4323-a97d-691438b2e2da" providerId="ADAL" clId="{4E22EDF5-2883-5D57-B9C7-04E66950367B}" dt="2026-01-12T16:13:38.275" v="18775" actId="1076"/>
        <pc:sldMkLst>
          <pc:docMk/>
          <pc:sldMk cId="2044096338" sldId="2147483554"/>
        </pc:sldMkLst>
        <pc:picChg chg="add mod">
          <ac:chgData name="Jan Cordtz" userId="b5e592fb-fc8b-4323-a97d-691438b2e2da" providerId="ADAL" clId="{4E22EDF5-2883-5D57-B9C7-04E66950367B}" dt="2026-01-12T16:13:38.275" v="18775" actId="1076"/>
          <ac:picMkLst>
            <pc:docMk/>
            <pc:sldMk cId="2044096338" sldId="2147483554"/>
            <ac:picMk id="2" creationId="{59A1692F-52D4-CDF2-4CC6-06C16A242085}"/>
          </ac:picMkLst>
        </pc:picChg>
      </pc:sldChg>
      <pc:sldChg chg="addSp modSp new mod">
        <pc:chgData name="Jan Cordtz" userId="b5e592fb-fc8b-4323-a97d-691438b2e2da" providerId="ADAL" clId="{4E22EDF5-2883-5D57-B9C7-04E66950367B}" dt="2026-01-12T16:09:07.054" v="18754" actId="1076"/>
        <pc:sldMkLst>
          <pc:docMk/>
          <pc:sldMk cId="1278492971" sldId="2147483555"/>
        </pc:sldMkLst>
        <pc:picChg chg="add mod">
          <ac:chgData name="Jan Cordtz" userId="b5e592fb-fc8b-4323-a97d-691438b2e2da" providerId="ADAL" clId="{4E22EDF5-2883-5D57-B9C7-04E66950367B}" dt="2026-01-12T16:09:07.054" v="18754" actId="1076"/>
          <ac:picMkLst>
            <pc:docMk/>
            <pc:sldMk cId="1278492971" sldId="2147483555"/>
            <ac:picMk id="2" creationId="{6A09AE09-C933-8A84-8724-ABC1E19CC6E1}"/>
          </ac:picMkLst>
        </pc:picChg>
      </pc:sldChg>
      <pc:sldChg chg="addSp modSp new mod">
        <pc:chgData name="Jan Cordtz" userId="b5e592fb-fc8b-4323-a97d-691438b2e2da" providerId="ADAL" clId="{4E22EDF5-2883-5D57-B9C7-04E66950367B}" dt="2026-01-12T16:07:34.304" v="18747" actId="1076"/>
        <pc:sldMkLst>
          <pc:docMk/>
          <pc:sldMk cId="1230791312" sldId="2147483556"/>
        </pc:sldMkLst>
        <pc:picChg chg="add mod">
          <ac:chgData name="Jan Cordtz" userId="b5e592fb-fc8b-4323-a97d-691438b2e2da" providerId="ADAL" clId="{4E22EDF5-2883-5D57-B9C7-04E66950367B}" dt="2026-01-12T16:07:34.304" v="18747" actId="1076"/>
          <ac:picMkLst>
            <pc:docMk/>
            <pc:sldMk cId="1230791312" sldId="2147483556"/>
            <ac:picMk id="2" creationId="{2F603771-B0B0-802C-8B7B-48414E3B0A41}"/>
          </ac:picMkLst>
        </pc:picChg>
      </pc:sldChg>
      <pc:sldChg chg="addSp delSp modSp new mod">
        <pc:chgData name="Jan Cordtz" userId="b5e592fb-fc8b-4323-a97d-691438b2e2da" providerId="ADAL" clId="{4E22EDF5-2883-5D57-B9C7-04E66950367B}" dt="2026-01-12T16:03:53.056" v="18731" actId="1076"/>
        <pc:sldMkLst>
          <pc:docMk/>
          <pc:sldMk cId="3543904750" sldId="2147483557"/>
        </pc:sldMkLst>
        <pc:picChg chg="add del mod">
          <ac:chgData name="Jan Cordtz" userId="b5e592fb-fc8b-4323-a97d-691438b2e2da" providerId="ADAL" clId="{4E22EDF5-2883-5D57-B9C7-04E66950367B}" dt="2026-01-12T16:03:50.419" v="18729" actId="478"/>
          <ac:picMkLst>
            <pc:docMk/>
            <pc:sldMk cId="3543904750" sldId="2147483557"/>
            <ac:picMk id="2" creationId="{343B92A0-44F3-8C03-2F5A-5FB5C0C23E51}"/>
          </ac:picMkLst>
        </pc:picChg>
        <pc:picChg chg="add mod">
          <ac:chgData name="Jan Cordtz" userId="b5e592fb-fc8b-4323-a97d-691438b2e2da" providerId="ADAL" clId="{4E22EDF5-2883-5D57-B9C7-04E66950367B}" dt="2026-01-12T16:03:53.056" v="18731" actId="1076"/>
          <ac:picMkLst>
            <pc:docMk/>
            <pc:sldMk cId="3543904750" sldId="2147483557"/>
            <ac:picMk id="3" creationId="{7501EA74-AFDA-9558-FE85-25DB48548C4B}"/>
          </ac:picMkLst>
        </pc:picChg>
      </pc:sldChg>
      <pc:sldChg chg="addSp modSp new mod">
        <pc:chgData name="Jan Cordtz" userId="b5e592fb-fc8b-4323-a97d-691438b2e2da" providerId="ADAL" clId="{4E22EDF5-2883-5D57-B9C7-04E66950367B}" dt="2026-01-12T16:04:23.031" v="18734" actId="1076"/>
        <pc:sldMkLst>
          <pc:docMk/>
          <pc:sldMk cId="1184912221" sldId="2147483558"/>
        </pc:sldMkLst>
        <pc:picChg chg="add mod">
          <ac:chgData name="Jan Cordtz" userId="b5e592fb-fc8b-4323-a97d-691438b2e2da" providerId="ADAL" clId="{4E22EDF5-2883-5D57-B9C7-04E66950367B}" dt="2026-01-12T16:04:23.031" v="18734" actId="1076"/>
          <ac:picMkLst>
            <pc:docMk/>
            <pc:sldMk cId="1184912221" sldId="2147483558"/>
            <ac:picMk id="2" creationId="{2788BD6B-235E-C49C-0365-C3CD58C9CD75}"/>
          </ac:picMkLst>
        </pc:picChg>
      </pc:sldChg>
      <pc:sldChg chg="addSp modSp new mod">
        <pc:chgData name="Jan Cordtz" userId="b5e592fb-fc8b-4323-a97d-691438b2e2da" providerId="ADAL" clId="{4E22EDF5-2883-5D57-B9C7-04E66950367B}" dt="2026-01-12T16:05:32.267" v="18737" actId="1076"/>
        <pc:sldMkLst>
          <pc:docMk/>
          <pc:sldMk cId="3959257428" sldId="2147483559"/>
        </pc:sldMkLst>
        <pc:picChg chg="add mod">
          <ac:chgData name="Jan Cordtz" userId="b5e592fb-fc8b-4323-a97d-691438b2e2da" providerId="ADAL" clId="{4E22EDF5-2883-5D57-B9C7-04E66950367B}" dt="2026-01-12T16:05:32.267" v="18737" actId="1076"/>
          <ac:picMkLst>
            <pc:docMk/>
            <pc:sldMk cId="3959257428" sldId="2147483559"/>
            <ac:picMk id="2" creationId="{3B1B561D-041E-6712-C297-A37156D83FFF}"/>
          </ac:picMkLst>
        </pc:picChg>
      </pc:sldChg>
      <pc:sldChg chg="addSp modSp new mod">
        <pc:chgData name="Jan Cordtz" userId="b5e592fb-fc8b-4323-a97d-691438b2e2da" providerId="ADAL" clId="{4E22EDF5-2883-5D57-B9C7-04E66950367B}" dt="2026-01-12T16:05:54.172" v="18740" actId="1076"/>
        <pc:sldMkLst>
          <pc:docMk/>
          <pc:sldMk cId="3764078377" sldId="2147483560"/>
        </pc:sldMkLst>
        <pc:picChg chg="add mod">
          <ac:chgData name="Jan Cordtz" userId="b5e592fb-fc8b-4323-a97d-691438b2e2da" providerId="ADAL" clId="{4E22EDF5-2883-5D57-B9C7-04E66950367B}" dt="2026-01-12T16:05:54.172" v="18740" actId="1076"/>
          <ac:picMkLst>
            <pc:docMk/>
            <pc:sldMk cId="3764078377" sldId="2147483560"/>
            <ac:picMk id="2" creationId="{DB7F0BE7-3A97-F919-4097-FC9047DBDF62}"/>
          </ac:picMkLst>
        </pc:picChg>
      </pc:sldChg>
      <pc:sldChg chg="addSp modSp new mod">
        <pc:chgData name="Jan Cordtz" userId="b5e592fb-fc8b-4323-a97d-691438b2e2da" providerId="ADAL" clId="{4E22EDF5-2883-5D57-B9C7-04E66950367B}" dt="2026-01-12T16:06:27.967" v="18743" actId="1076"/>
        <pc:sldMkLst>
          <pc:docMk/>
          <pc:sldMk cId="2863599148" sldId="2147483561"/>
        </pc:sldMkLst>
        <pc:picChg chg="add mod">
          <ac:chgData name="Jan Cordtz" userId="b5e592fb-fc8b-4323-a97d-691438b2e2da" providerId="ADAL" clId="{4E22EDF5-2883-5D57-B9C7-04E66950367B}" dt="2026-01-12T16:06:27.967" v="18743" actId="1076"/>
          <ac:picMkLst>
            <pc:docMk/>
            <pc:sldMk cId="2863599148" sldId="2147483561"/>
            <ac:picMk id="2" creationId="{6C6C5C05-30A5-BD2C-6576-F2D7807752DA}"/>
          </ac:picMkLst>
        </pc:picChg>
      </pc:sldChg>
      <pc:sldChg chg="addSp modSp new mod">
        <pc:chgData name="Jan Cordtz" userId="b5e592fb-fc8b-4323-a97d-691438b2e2da" providerId="ADAL" clId="{4E22EDF5-2883-5D57-B9C7-04E66950367B}" dt="2026-01-12T16:06:47.887" v="18746" actId="1076"/>
        <pc:sldMkLst>
          <pc:docMk/>
          <pc:sldMk cId="3187545290" sldId="2147483562"/>
        </pc:sldMkLst>
        <pc:picChg chg="add mod">
          <ac:chgData name="Jan Cordtz" userId="b5e592fb-fc8b-4323-a97d-691438b2e2da" providerId="ADAL" clId="{4E22EDF5-2883-5D57-B9C7-04E66950367B}" dt="2026-01-12T16:06:47.887" v="18746" actId="1076"/>
          <ac:picMkLst>
            <pc:docMk/>
            <pc:sldMk cId="3187545290" sldId="2147483562"/>
            <ac:picMk id="2" creationId="{8F71449A-7F0E-F889-6AC8-64B8768F8401}"/>
          </ac:picMkLst>
        </pc:picChg>
      </pc:sldChg>
      <pc:sldChg chg="addSp modSp new mod">
        <pc:chgData name="Jan Cordtz" userId="b5e592fb-fc8b-4323-a97d-691438b2e2da" providerId="ADAL" clId="{4E22EDF5-2883-5D57-B9C7-04E66950367B}" dt="2026-01-12T16:07:40.810" v="18750" actId="1076"/>
        <pc:sldMkLst>
          <pc:docMk/>
          <pc:sldMk cId="4010059235" sldId="2147483563"/>
        </pc:sldMkLst>
        <pc:picChg chg="add mod">
          <ac:chgData name="Jan Cordtz" userId="b5e592fb-fc8b-4323-a97d-691438b2e2da" providerId="ADAL" clId="{4E22EDF5-2883-5D57-B9C7-04E66950367B}" dt="2026-01-12T16:07:40.810" v="18750" actId="1076"/>
          <ac:picMkLst>
            <pc:docMk/>
            <pc:sldMk cId="4010059235" sldId="2147483563"/>
            <ac:picMk id="2" creationId="{061EFF43-4CBF-D960-EE2D-204943025186}"/>
          </ac:picMkLst>
        </pc:picChg>
      </pc:sldChg>
      <pc:sldChg chg="addSp modSp new mod">
        <pc:chgData name="Jan Cordtz" userId="b5e592fb-fc8b-4323-a97d-691438b2e2da" providerId="ADAL" clId="{4E22EDF5-2883-5D57-B9C7-04E66950367B}" dt="2026-01-12T16:08:02.587" v="18753" actId="1076"/>
        <pc:sldMkLst>
          <pc:docMk/>
          <pc:sldMk cId="1287738189" sldId="2147483564"/>
        </pc:sldMkLst>
        <pc:picChg chg="add mod">
          <ac:chgData name="Jan Cordtz" userId="b5e592fb-fc8b-4323-a97d-691438b2e2da" providerId="ADAL" clId="{4E22EDF5-2883-5D57-B9C7-04E66950367B}" dt="2026-01-12T16:08:02.587" v="18753" actId="1076"/>
          <ac:picMkLst>
            <pc:docMk/>
            <pc:sldMk cId="1287738189" sldId="2147483564"/>
            <ac:picMk id="2" creationId="{ADA9B061-84F4-7703-3367-B2C4F53D5532}"/>
          </ac:picMkLst>
        </pc:picChg>
      </pc:sldChg>
      <pc:sldChg chg="addSp modSp new mod">
        <pc:chgData name="Jan Cordtz" userId="b5e592fb-fc8b-4323-a97d-691438b2e2da" providerId="ADAL" clId="{4E22EDF5-2883-5D57-B9C7-04E66950367B}" dt="2026-01-12T16:09:12.560" v="18757" actId="1076"/>
        <pc:sldMkLst>
          <pc:docMk/>
          <pc:sldMk cId="2043116812" sldId="2147483565"/>
        </pc:sldMkLst>
        <pc:picChg chg="add mod">
          <ac:chgData name="Jan Cordtz" userId="b5e592fb-fc8b-4323-a97d-691438b2e2da" providerId="ADAL" clId="{4E22EDF5-2883-5D57-B9C7-04E66950367B}" dt="2026-01-12T16:09:12.560" v="18757" actId="1076"/>
          <ac:picMkLst>
            <pc:docMk/>
            <pc:sldMk cId="2043116812" sldId="2147483565"/>
            <ac:picMk id="2" creationId="{5C480218-F8EA-5D04-D6BB-2DFDBE706936}"/>
          </ac:picMkLst>
        </pc:picChg>
      </pc:sldChg>
      <pc:sldChg chg="addSp modSp new mod">
        <pc:chgData name="Jan Cordtz" userId="b5e592fb-fc8b-4323-a97d-691438b2e2da" providerId="ADAL" clId="{4E22EDF5-2883-5D57-B9C7-04E66950367B}" dt="2026-01-12T16:09:39.183" v="18760" actId="1076"/>
        <pc:sldMkLst>
          <pc:docMk/>
          <pc:sldMk cId="2032236103" sldId="2147483566"/>
        </pc:sldMkLst>
        <pc:picChg chg="add mod">
          <ac:chgData name="Jan Cordtz" userId="b5e592fb-fc8b-4323-a97d-691438b2e2da" providerId="ADAL" clId="{4E22EDF5-2883-5D57-B9C7-04E66950367B}" dt="2026-01-12T16:09:39.183" v="18760" actId="1076"/>
          <ac:picMkLst>
            <pc:docMk/>
            <pc:sldMk cId="2032236103" sldId="2147483566"/>
            <ac:picMk id="2" creationId="{82493F66-8480-032F-FF0F-90805FECF692}"/>
          </ac:picMkLst>
        </pc:picChg>
      </pc:sldChg>
      <pc:sldChg chg="addSp modSp new mod">
        <pc:chgData name="Jan Cordtz" userId="b5e592fb-fc8b-4323-a97d-691438b2e2da" providerId="ADAL" clId="{4E22EDF5-2883-5D57-B9C7-04E66950367B}" dt="2026-01-12T16:10:39.214" v="18770" actId="20577"/>
        <pc:sldMkLst>
          <pc:docMk/>
          <pc:sldMk cId="2875761139" sldId="2147483567"/>
        </pc:sldMkLst>
        <pc:spChg chg="add mod">
          <ac:chgData name="Jan Cordtz" userId="b5e592fb-fc8b-4323-a97d-691438b2e2da" providerId="ADAL" clId="{4E22EDF5-2883-5D57-B9C7-04E66950367B}" dt="2026-01-12T16:10:39.214" v="18770" actId="20577"/>
          <ac:spMkLst>
            <pc:docMk/>
            <pc:sldMk cId="2875761139" sldId="2147483567"/>
            <ac:spMk id="2" creationId="{10D248A6-F074-6157-1C8A-B23B2AF51A72}"/>
          </ac:spMkLst>
        </pc:spChg>
      </pc:sldChg>
      <pc:sldChg chg="addSp delSp modSp new mod">
        <pc:chgData name="Jan Cordtz" userId="b5e592fb-fc8b-4323-a97d-691438b2e2da" providerId="ADAL" clId="{4E22EDF5-2883-5D57-B9C7-04E66950367B}" dt="2026-01-12T16:20:29.150" v="18797" actId="1076"/>
        <pc:sldMkLst>
          <pc:docMk/>
          <pc:sldMk cId="3769645335" sldId="2147483568"/>
        </pc:sldMkLst>
        <pc:picChg chg="add del mod">
          <ac:chgData name="Jan Cordtz" userId="b5e592fb-fc8b-4323-a97d-691438b2e2da" providerId="ADAL" clId="{4E22EDF5-2883-5D57-B9C7-04E66950367B}" dt="2026-01-12T16:17:19.579" v="18789" actId="478"/>
          <ac:picMkLst>
            <pc:docMk/>
            <pc:sldMk cId="3769645335" sldId="2147483568"/>
            <ac:picMk id="2" creationId="{BACA3920-1942-B423-C95F-E677FA1ADEF7}"/>
          </ac:picMkLst>
        </pc:picChg>
        <pc:picChg chg="add mod">
          <ac:chgData name="Jan Cordtz" userId="b5e592fb-fc8b-4323-a97d-691438b2e2da" providerId="ADAL" clId="{4E22EDF5-2883-5D57-B9C7-04E66950367B}" dt="2026-01-12T16:17:24.250" v="18791" actId="1076"/>
          <ac:picMkLst>
            <pc:docMk/>
            <pc:sldMk cId="3769645335" sldId="2147483568"/>
            <ac:picMk id="3" creationId="{A2E8DB76-8DD6-F701-075F-7C56ADECAF10}"/>
          </ac:picMkLst>
        </pc:picChg>
        <pc:picChg chg="add mod">
          <ac:chgData name="Jan Cordtz" userId="b5e592fb-fc8b-4323-a97d-691438b2e2da" providerId="ADAL" clId="{4E22EDF5-2883-5D57-B9C7-04E66950367B}" dt="2026-01-12T16:20:29.150" v="18797" actId="1076"/>
          <ac:picMkLst>
            <pc:docMk/>
            <pc:sldMk cId="3769645335" sldId="2147483568"/>
            <ac:picMk id="4" creationId="{1E08E704-7C04-36D2-9C9E-D23824282DDC}"/>
          </ac:picMkLst>
        </pc:picChg>
      </pc:sldChg>
      <pc:sldChg chg="addSp delSp modSp new mod">
        <pc:chgData name="Jan Cordtz" userId="b5e592fb-fc8b-4323-a97d-691438b2e2da" providerId="ADAL" clId="{4E22EDF5-2883-5D57-B9C7-04E66950367B}" dt="2026-01-12T16:14:50.309" v="18785" actId="1076"/>
        <pc:sldMkLst>
          <pc:docMk/>
          <pc:sldMk cId="837331255" sldId="2147483569"/>
        </pc:sldMkLst>
        <pc:picChg chg="add del mod">
          <ac:chgData name="Jan Cordtz" userId="b5e592fb-fc8b-4323-a97d-691438b2e2da" providerId="ADAL" clId="{4E22EDF5-2883-5D57-B9C7-04E66950367B}" dt="2026-01-12T16:14:35.233" v="18783" actId="478"/>
          <ac:picMkLst>
            <pc:docMk/>
            <pc:sldMk cId="837331255" sldId="2147483569"/>
            <ac:picMk id="2" creationId="{CD80B4A1-ED81-521B-7A32-EDC456FF6523}"/>
          </ac:picMkLst>
        </pc:picChg>
        <pc:picChg chg="add mod">
          <ac:chgData name="Jan Cordtz" userId="b5e592fb-fc8b-4323-a97d-691438b2e2da" providerId="ADAL" clId="{4E22EDF5-2883-5D57-B9C7-04E66950367B}" dt="2026-01-12T16:14:50.309" v="18785" actId="1076"/>
          <ac:picMkLst>
            <pc:docMk/>
            <pc:sldMk cId="837331255" sldId="2147483569"/>
            <ac:picMk id="3" creationId="{25E4F8E1-CC91-1AFE-4ED7-3765CBF8D8B2}"/>
          </ac:picMkLst>
        </pc:picChg>
      </pc:sldChg>
      <pc:sldChg chg="addSp modSp new mod">
        <pc:chgData name="Jan Cordtz" userId="b5e592fb-fc8b-4323-a97d-691438b2e2da" providerId="ADAL" clId="{4E22EDF5-2883-5D57-B9C7-04E66950367B}" dt="2026-01-12T16:14:22.596" v="18782" actId="1076"/>
        <pc:sldMkLst>
          <pc:docMk/>
          <pc:sldMk cId="2645551473" sldId="2147483570"/>
        </pc:sldMkLst>
        <pc:picChg chg="add mod">
          <ac:chgData name="Jan Cordtz" userId="b5e592fb-fc8b-4323-a97d-691438b2e2da" providerId="ADAL" clId="{4E22EDF5-2883-5D57-B9C7-04E66950367B}" dt="2026-01-12T16:14:22.596" v="18782" actId="1076"/>
          <ac:picMkLst>
            <pc:docMk/>
            <pc:sldMk cId="2645551473" sldId="2147483570"/>
            <ac:picMk id="2" creationId="{77F82973-B3B1-9A34-E540-09D1786D3DB4}"/>
          </ac:picMkLst>
        </pc:picChg>
      </pc:sldChg>
      <pc:sldChg chg="addSp modSp new mod">
        <pc:chgData name="Jan Cordtz" userId="b5e592fb-fc8b-4323-a97d-691438b2e2da" providerId="ADAL" clId="{4E22EDF5-2883-5D57-B9C7-04E66950367B}" dt="2026-01-12T16:16:26.384" v="18788" actId="1076"/>
        <pc:sldMkLst>
          <pc:docMk/>
          <pc:sldMk cId="1236399726" sldId="2147483571"/>
        </pc:sldMkLst>
        <pc:picChg chg="add mod">
          <ac:chgData name="Jan Cordtz" userId="b5e592fb-fc8b-4323-a97d-691438b2e2da" providerId="ADAL" clId="{4E22EDF5-2883-5D57-B9C7-04E66950367B}" dt="2026-01-12T16:16:26.384" v="18788" actId="1076"/>
          <ac:picMkLst>
            <pc:docMk/>
            <pc:sldMk cId="1236399726" sldId="2147483571"/>
            <ac:picMk id="2" creationId="{820C01E2-E935-9C67-BCA4-52C601B1DD46}"/>
          </ac:picMkLst>
        </pc:picChg>
      </pc:sldChg>
      <pc:sldChg chg="addSp modSp new mod">
        <pc:chgData name="Jan Cordtz" userId="b5e592fb-fc8b-4323-a97d-691438b2e2da" providerId="ADAL" clId="{4E22EDF5-2883-5D57-B9C7-04E66950367B}" dt="2026-01-12T16:19:48.659" v="18794" actId="1076"/>
        <pc:sldMkLst>
          <pc:docMk/>
          <pc:sldMk cId="1497717602" sldId="2147483572"/>
        </pc:sldMkLst>
        <pc:picChg chg="add mod">
          <ac:chgData name="Jan Cordtz" userId="b5e592fb-fc8b-4323-a97d-691438b2e2da" providerId="ADAL" clId="{4E22EDF5-2883-5D57-B9C7-04E66950367B}" dt="2026-01-12T16:19:48.659" v="18794" actId="1076"/>
          <ac:picMkLst>
            <pc:docMk/>
            <pc:sldMk cId="1497717602" sldId="2147483572"/>
            <ac:picMk id="2" creationId="{F031D4B1-103A-C9CF-F739-9F6A45930C06}"/>
          </ac:picMkLst>
        </pc:picChg>
      </pc:sldChg>
      <pc:sldChg chg="addSp modSp new mod">
        <pc:chgData name="Jan Cordtz" userId="b5e592fb-fc8b-4323-a97d-691438b2e2da" providerId="ADAL" clId="{4E22EDF5-2883-5D57-B9C7-04E66950367B}" dt="2026-01-12T16:21:26.130" v="18800" actId="1076"/>
        <pc:sldMkLst>
          <pc:docMk/>
          <pc:sldMk cId="3658783777" sldId="2147483573"/>
        </pc:sldMkLst>
        <pc:picChg chg="add mod">
          <ac:chgData name="Jan Cordtz" userId="b5e592fb-fc8b-4323-a97d-691438b2e2da" providerId="ADAL" clId="{4E22EDF5-2883-5D57-B9C7-04E66950367B}" dt="2026-01-12T16:21:26.130" v="18800" actId="1076"/>
          <ac:picMkLst>
            <pc:docMk/>
            <pc:sldMk cId="3658783777" sldId="2147483573"/>
            <ac:picMk id="2" creationId="{E3BD860E-FCE3-577C-D2B2-240908C3845C}"/>
          </ac:picMkLst>
        </pc:picChg>
      </pc:sldChg>
      <pc:sldChg chg="addSp modSp new mod">
        <pc:chgData name="Jan Cordtz" userId="b5e592fb-fc8b-4323-a97d-691438b2e2da" providerId="ADAL" clId="{4E22EDF5-2883-5D57-B9C7-04E66950367B}" dt="2026-01-12T16:22:27.766" v="18803" actId="1076"/>
        <pc:sldMkLst>
          <pc:docMk/>
          <pc:sldMk cId="2321975847" sldId="2147483574"/>
        </pc:sldMkLst>
        <pc:picChg chg="add mod">
          <ac:chgData name="Jan Cordtz" userId="b5e592fb-fc8b-4323-a97d-691438b2e2da" providerId="ADAL" clId="{4E22EDF5-2883-5D57-B9C7-04E66950367B}" dt="2026-01-12T16:22:27.766" v="18803" actId="1076"/>
          <ac:picMkLst>
            <pc:docMk/>
            <pc:sldMk cId="2321975847" sldId="2147483574"/>
            <ac:picMk id="2" creationId="{07D8041B-C63F-2401-8F9A-C9FC0CC31CED}"/>
          </ac:picMkLst>
        </pc:picChg>
      </pc:sldChg>
      <pc:sldChg chg="addSp modSp new mod">
        <pc:chgData name="Jan Cordtz" userId="b5e592fb-fc8b-4323-a97d-691438b2e2da" providerId="ADAL" clId="{4E22EDF5-2883-5D57-B9C7-04E66950367B}" dt="2026-01-12T16:22:54.929" v="18806" actId="1076"/>
        <pc:sldMkLst>
          <pc:docMk/>
          <pc:sldMk cId="173669103" sldId="2147483575"/>
        </pc:sldMkLst>
        <pc:picChg chg="add mod">
          <ac:chgData name="Jan Cordtz" userId="b5e592fb-fc8b-4323-a97d-691438b2e2da" providerId="ADAL" clId="{4E22EDF5-2883-5D57-B9C7-04E66950367B}" dt="2026-01-12T16:22:54.929" v="18806" actId="1076"/>
          <ac:picMkLst>
            <pc:docMk/>
            <pc:sldMk cId="173669103" sldId="2147483575"/>
            <ac:picMk id="2" creationId="{577662D8-5016-F37E-435B-A49540B42F6F}"/>
          </ac:picMkLst>
        </pc:picChg>
      </pc:sldChg>
      <pc:sldChg chg="addSp delSp modSp new mod">
        <pc:chgData name="Jan Cordtz" userId="b5e592fb-fc8b-4323-a97d-691438b2e2da" providerId="ADAL" clId="{4E22EDF5-2883-5D57-B9C7-04E66950367B}" dt="2026-01-12T16:23:56.043" v="18812" actId="1076"/>
        <pc:sldMkLst>
          <pc:docMk/>
          <pc:sldMk cId="1733351264" sldId="2147483576"/>
        </pc:sldMkLst>
        <pc:picChg chg="add del mod">
          <ac:chgData name="Jan Cordtz" userId="b5e592fb-fc8b-4323-a97d-691438b2e2da" providerId="ADAL" clId="{4E22EDF5-2883-5D57-B9C7-04E66950367B}" dt="2026-01-12T16:23:42.863" v="18810" actId="478"/>
          <ac:picMkLst>
            <pc:docMk/>
            <pc:sldMk cId="1733351264" sldId="2147483576"/>
            <ac:picMk id="2" creationId="{F433E01A-05A2-70BC-85A9-572A2A41CA17}"/>
          </ac:picMkLst>
        </pc:picChg>
        <pc:picChg chg="add mod">
          <ac:chgData name="Jan Cordtz" userId="b5e592fb-fc8b-4323-a97d-691438b2e2da" providerId="ADAL" clId="{4E22EDF5-2883-5D57-B9C7-04E66950367B}" dt="2026-01-12T16:23:56.043" v="18812" actId="1076"/>
          <ac:picMkLst>
            <pc:docMk/>
            <pc:sldMk cId="1733351264" sldId="2147483576"/>
            <ac:picMk id="3" creationId="{6823A6DB-0BD7-5CBD-70EC-FDA7D24F5D37}"/>
          </ac:picMkLst>
        </pc:picChg>
      </pc:sldChg>
      <pc:sldChg chg="addSp modSp new mod">
        <pc:chgData name="Jan Cordtz" userId="b5e592fb-fc8b-4323-a97d-691438b2e2da" providerId="ADAL" clId="{4E22EDF5-2883-5D57-B9C7-04E66950367B}" dt="2026-01-12T16:25:00.465" v="18815" actId="1076"/>
        <pc:sldMkLst>
          <pc:docMk/>
          <pc:sldMk cId="11956428" sldId="2147483577"/>
        </pc:sldMkLst>
        <pc:picChg chg="add mod">
          <ac:chgData name="Jan Cordtz" userId="b5e592fb-fc8b-4323-a97d-691438b2e2da" providerId="ADAL" clId="{4E22EDF5-2883-5D57-B9C7-04E66950367B}" dt="2026-01-12T16:25:00.465" v="18815" actId="1076"/>
          <ac:picMkLst>
            <pc:docMk/>
            <pc:sldMk cId="11956428" sldId="2147483577"/>
            <ac:picMk id="2" creationId="{D5B1AD0C-6BC0-0D2E-F5A3-B3BC8E3C8344}"/>
          </ac:picMkLst>
        </pc:picChg>
      </pc:sldChg>
      <pc:sldChg chg="addSp modSp new mod">
        <pc:chgData name="Jan Cordtz" userId="b5e592fb-fc8b-4323-a97d-691438b2e2da" providerId="ADAL" clId="{4E22EDF5-2883-5D57-B9C7-04E66950367B}" dt="2026-01-12T16:25:23.673" v="18818" actId="1076"/>
        <pc:sldMkLst>
          <pc:docMk/>
          <pc:sldMk cId="665090989" sldId="2147483578"/>
        </pc:sldMkLst>
        <pc:picChg chg="add mod">
          <ac:chgData name="Jan Cordtz" userId="b5e592fb-fc8b-4323-a97d-691438b2e2da" providerId="ADAL" clId="{4E22EDF5-2883-5D57-B9C7-04E66950367B}" dt="2026-01-12T16:25:23.673" v="18818" actId="1076"/>
          <ac:picMkLst>
            <pc:docMk/>
            <pc:sldMk cId="665090989" sldId="2147483578"/>
            <ac:picMk id="2" creationId="{8086BC31-C651-2044-084E-5DF0F7902E69}"/>
          </ac:picMkLst>
        </pc:picChg>
      </pc:sldChg>
      <pc:sldChg chg="modSp add mod">
        <pc:chgData name="Jan Cordtz" userId="b5e592fb-fc8b-4323-a97d-691438b2e2da" providerId="ADAL" clId="{4E22EDF5-2883-5D57-B9C7-04E66950367B}" dt="2026-01-12T17:37:11.952" v="18884" actId="313"/>
        <pc:sldMkLst>
          <pc:docMk/>
          <pc:sldMk cId="3280883978" sldId="2147483579"/>
        </pc:sldMkLst>
        <pc:spChg chg="mod">
          <ac:chgData name="Jan Cordtz" userId="b5e592fb-fc8b-4323-a97d-691438b2e2da" providerId="ADAL" clId="{4E22EDF5-2883-5D57-B9C7-04E66950367B}" dt="2026-01-12T17:37:11.952" v="18884" actId="313"/>
          <ac:spMkLst>
            <pc:docMk/>
            <pc:sldMk cId="3280883978" sldId="2147483579"/>
            <ac:spMk id="2" creationId="{1C08C4F2-1DA6-B0E3-CA31-51A041065DD1}"/>
          </ac:spMkLst>
        </pc:spChg>
      </pc:sldChg>
      <pc:sldChg chg="addSp modSp new mod modClrScheme chgLayout">
        <pc:chgData name="Jan Cordtz" userId="b5e592fb-fc8b-4323-a97d-691438b2e2da" providerId="ADAL" clId="{4E22EDF5-2883-5D57-B9C7-04E66950367B}" dt="2026-01-12T16:26:38.330" v="18835" actId="1076"/>
        <pc:sldMkLst>
          <pc:docMk/>
          <pc:sldMk cId="3650456493" sldId="2147483580"/>
        </pc:sldMkLst>
        <pc:picChg chg="add mod">
          <ac:chgData name="Jan Cordtz" userId="b5e592fb-fc8b-4323-a97d-691438b2e2da" providerId="ADAL" clId="{4E22EDF5-2883-5D57-B9C7-04E66950367B}" dt="2026-01-12T16:26:38.330" v="18835" actId="1076"/>
          <ac:picMkLst>
            <pc:docMk/>
            <pc:sldMk cId="3650456493" sldId="2147483580"/>
            <ac:picMk id="2" creationId="{CF61A311-9AB3-7AD6-0EA3-9898B393A825}"/>
          </ac:picMkLst>
        </pc:picChg>
      </pc:sldChg>
      <pc:sldChg chg="addSp modSp new mod">
        <pc:chgData name="Jan Cordtz" userId="b5e592fb-fc8b-4323-a97d-691438b2e2da" providerId="ADAL" clId="{4E22EDF5-2883-5D57-B9C7-04E66950367B}" dt="2026-01-12T16:27:18.094" v="18838" actId="1076"/>
        <pc:sldMkLst>
          <pc:docMk/>
          <pc:sldMk cId="3068290669" sldId="2147483581"/>
        </pc:sldMkLst>
        <pc:picChg chg="add mod">
          <ac:chgData name="Jan Cordtz" userId="b5e592fb-fc8b-4323-a97d-691438b2e2da" providerId="ADAL" clId="{4E22EDF5-2883-5D57-B9C7-04E66950367B}" dt="2026-01-12T16:27:18.094" v="18838" actId="1076"/>
          <ac:picMkLst>
            <pc:docMk/>
            <pc:sldMk cId="3068290669" sldId="2147483581"/>
            <ac:picMk id="2" creationId="{AB566E76-D6A7-B4B2-8D15-BC318E13E1FD}"/>
          </ac:picMkLst>
        </pc:picChg>
      </pc:sldChg>
      <pc:sldChg chg="addSp modSp new mod">
        <pc:chgData name="Jan Cordtz" userId="b5e592fb-fc8b-4323-a97d-691438b2e2da" providerId="ADAL" clId="{4E22EDF5-2883-5D57-B9C7-04E66950367B}" dt="2026-01-12T16:27:47.771" v="18841" actId="1076"/>
        <pc:sldMkLst>
          <pc:docMk/>
          <pc:sldMk cId="3364467850" sldId="2147483582"/>
        </pc:sldMkLst>
        <pc:picChg chg="add mod">
          <ac:chgData name="Jan Cordtz" userId="b5e592fb-fc8b-4323-a97d-691438b2e2da" providerId="ADAL" clId="{4E22EDF5-2883-5D57-B9C7-04E66950367B}" dt="2026-01-12T16:27:47.771" v="18841" actId="1076"/>
          <ac:picMkLst>
            <pc:docMk/>
            <pc:sldMk cId="3364467850" sldId="2147483582"/>
            <ac:picMk id="2" creationId="{7FB18F9F-0330-4302-7CD0-EF938A8A851C}"/>
          </ac:picMkLst>
        </pc:picChg>
      </pc:sldChg>
      <pc:sldChg chg="addSp modSp new mod">
        <pc:chgData name="Jan Cordtz" userId="b5e592fb-fc8b-4323-a97d-691438b2e2da" providerId="ADAL" clId="{4E22EDF5-2883-5D57-B9C7-04E66950367B}" dt="2026-01-12T16:28:22.100" v="18844" actId="1076"/>
        <pc:sldMkLst>
          <pc:docMk/>
          <pc:sldMk cId="3114941240" sldId="2147483583"/>
        </pc:sldMkLst>
        <pc:picChg chg="add mod">
          <ac:chgData name="Jan Cordtz" userId="b5e592fb-fc8b-4323-a97d-691438b2e2da" providerId="ADAL" clId="{4E22EDF5-2883-5D57-B9C7-04E66950367B}" dt="2026-01-12T16:28:22.100" v="18844" actId="1076"/>
          <ac:picMkLst>
            <pc:docMk/>
            <pc:sldMk cId="3114941240" sldId="2147483583"/>
            <ac:picMk id="2" creationId="{61DB86F2-0A1A-21CD-3A6F-D616DB3B568F}"/>
          </ac:picMkLst>
        </pc:picChg>
      </pc:sldChg>
      <pc:sldChg chg="addSp modSp new mod">
        <pc:chgData name="Jan Cordtz" userId="b5e592fb-fc8b-4323-a97d-691438b2e2da" providerId="ADAL" clId="{4E22EDF5-2883-5D57-B9C7-04E66950367B}" dt="2026-01-12T16:28:53.587" v="18847" actId="1076"/>
        <pc:sldMkLst>
          <pc:docMk/>
          <pc:sldMk cId="143903606" sldId="2147483584"/>
        </pc:sldMkLst>
        <pc:picChg chg="add mod">
          <ac:chgData name="Jan Cordtz" userId="b5e592fb-fc8b-4323-a97d-691438b2e2da" providerId="ADAL" clId="{4E22EDF5-2883-5D57-B9C7-04E66950367B}" dt="2026-01-12T16:28:53.587" v="18847" actId="1076"/>
          <ac:picMkLst>
            <pc:docMk/>
            <pc:sldMk cId="143903606" sldId="2147483584"/>
            <ac:picMk id="2" creationId="{99602E59-2760-B40C-3B82-7EF6F64C4CCF}"/>
          </ac:picMkLst>
        </pc:picChg>
      </pc:sldChg>
      <pc:sldChg chg="addSp modSp new mod">
        <pc:chgData name="Jan Cordtz" userId="b5e592fb-fc8b-4323-a97d-691438b2e2da" providerId="ADAL" clId="{4E22EDF5-2883-5D57-B9C7-04E66950367B}" dt="2026-01-12T17:14:47.081" v="18850" actId="1076"/>
        <pc:sldMkLst>
          <pc:docMk/>
          <pc:sldMk cId="2171723999" sldId="2147483585"/>
        </pc:sldMkLst>
        <pc:picChg chg="add mod">
          <ac:chgData name="Jan Cordtz" userId="b5e592fb-fc8b-4323-a97d-691438b2e2da" providerId="ADAL" clId="{4E22EDF5-2883-5D57-B9C7-04E66950367B}" dt="2026-01-12T17:14:47.081" v="18850" actId="1076"/>
          <ac:picMkLst>
            <pc:docMk/>
            <pc:sldMk cId="2171723999" sldId="2147483585"/>
            <ac:picMk id="2" creationId="{41DFA5A0-5103-13F6-8423-7A3ACC490E1E}"/>
          </ac:picMkLst>
        </pc:picChg>
      </pc:sldChg>
      <pc:sldChg chg="addSp modSp new mod">
        <pc:chgData name="Jan Cordtz" userId="b5e592fb-fc8b-4323-a97d-691438b2e2da" providerId="ADAL" clId="{4E22EDF5-2883-5D57-B9C7-04E66950367B}" dt="2026-01-12T17:15:30.697" v="18853" actId="1076"/>
        <pc:sldMkLst>
          <pc:docMk/>
          <pc:sldMk cId="2467626618" sldId="2147483586"/>
        </pc:sldMkLst>
        <pc:picChg chg="add mod">
          <ac:chgData name="Jan Cordtz" userId="b5e592fb-fc8b-4323-a97d-691438b2e2da" providerId="ADAL" clId="{4E22EDF5-2883-5D57-B9C7-04E66950367B}" dt="2026-01-12T17:15:30.697" v="18853" actId="1076"/>
          <ac:picMkLst>
            <pc:docMk/>
            <pc:sldMk cId="2467626618" sldId="2147483586"/>
            <ac:picMk id="2" creationId="{F1CA9D2F-CD07-9412-0448-D2C8347DDCA1}"/>
          </ac:picMkLst>
        </pc:picChg>
      </pc:sldChg>
      <pc:sldChg chg="addSp modSp new mod">
        <pc:chgData name="Jan Cordtz" userId="b5e592fb-fc8b-4323-a97d-691438b2e2da" providerId="ADAL" clId="{4E22EDF5-2883-5D57-B9C7-04E66950367B}" dt="2026-01-12T17:15:54.298" v="18856" actId="1076"/>
        <pc:sldMkLst>
          <pc:docMk/>
          <pc:sldMk cId="766462392" sldId="2147483587"/>
        </pc:sldMkLst>
        <pc:picChg chg="add mod">
          <ac:chgData name="Jan Cordtz" userId="b5e592fb-fc8b-4323-a97d-691438b2e2da" providerId="ADAL" clId="{4E22EDF5-2883-5D57-B9C7-04E66950367B}" dt="2026-01-12T17:15:54.298" v="18856" actId="1076"/>
          <ac:picMkLst>
            <pc:docMk/>
            <pc:sldMk cId="766462392" sldId="2147483587"/>
            <ac:picMk id="2" creationId="{F50BDB5D-865E-B197-1D63-D17E9B8535CC}"/>
          </ac:picMkLst>
        </pc:picChg>
      </pc:sldChg>
      <pc:sldChg chg="addSp modSp new mod">
        <pc:chgData name="Jan Cordtz" userId="b5e592fb-fc8b-4323-a97d-691438b2e2da" providerId="ADAL" clId="{4E22EDF5-2883-5D57-B9C7-04E66950367B}" dt="2026-01-12T17:18:44.865" v="18859" actId="1076"/>
        <pc:sldMkLst>
          <pc:docMk/>
          <pc:sldMk cId="3486643344" sldId="2147483588"/>
        </pc:sldMkLst>
        <pc:picChg chg="add mod">
          <ac:chgData name="Jan Cordtz" userId="b5e592fb-fc8b-4323-a97d-691438b2e2da" providerId="ADAL" clId="{4E22EDF5-2883-5D57-B9C7-04E66950367B}" dt="2026-01-12T17:18:44.865" v="18859" actId="1076"/>
          <ac:picMkLst>
            <pc:docMk/>
            <pc:sldMk cId="3486643344" sldId="2147483588"/>
            <ac:picMk id="2" creationId="{FFF5B9F9-1385-34AF-0733-8435A52E897E}"/>
          </ac:picMkLst>
        </pc:picChg>
      </pc:sldChg>
      <pc:sldChg chg="addSp delSp modSp new mod">
        <pc:chgData name="Jan Cordtz" userId="b5e592fb-fc8b-4323-a97d-691438b2e2da" providerId="ADAL" clId="{4E22EDF5-2883-5D57-B9C7-04E66950367B}" dt="2026-01-12T17:28:09.640" v="18865" actId="1076"/>
        <pc:sldMkLst>
          <pc:docMk/>
          <pc:sldMk cId="204805143" sldId="2147483589"/>
        </pc:sldMkLst>
        <pc:picChg chg="add del mod">
          <ac:chgData name="Jan Cordtz" userId="b5e592fb-fc8b-4323-a97d-691438b2e2da" providerId="ADAL" clId="{4E22EDF5-2883-5D57-B9C7-04E66950367B}" dt="2026-01-12T17:27:50.640" v="18863" actId="478"/>
          <ac:picMkLst>
            <pc:docMk/>
            <pc:sldMk cId="204805143" sldId="2147483589"/>
            <ac:picMk id="2" creationId="{59A46F70-A686-C31D-C0FD-7EA23703BD5C}"/>
          </ac:picMkLst>
        </pc:picChg>
        <pc:picChg chg="add mod">
          <ac:chgData name="Jan Cordtz" userId="b5e592fb-fc8b-4323-a97d-691438b2e2da" providerId="ADAL" clId="{4E22EDF5-2883-5D57-B9C7-04E66950367B}" dt="2026-01-12T17:28:09.640" v="18865" actId="1076"/>
          <ac:picMkLst>
            <pc:docMk/>
            <pc:sldMk cId="204805143" sldId="2147483589"/>
            <ac:picMk id="3" creationId="{60DB23E2-2883-8E2B-275E-3CAE9E8801EF}"/>
          </ac:picMkLst>
        </pc:picChg>
      </pc:sldChg>
      <pc:sldChg chg="addSp modSp new mod">
        <pc:chgData name="Jan Cordtz" userId="b5e592fb-fc8b-4323-a97d-691438b2e2da" providerId="ADAL" clId="{4E22EDF5-2883-5D57-B9C7-04E66950367B}" dt="2026-01-12T17:29:11.466" v="18868" actId="1076"/>
        <pc:sldMkLst>
          <pc:docMk/>
          <pc:sldMk cId="1030192792" sldId="2147483590"/>
        </pc:sldMkLst>
        <pc:picChg chg="add mod">
          <ac:chgData name="Jan Cordtz" userId="b5e592fb-fc8b-4323-a97d-691438b2e2da" providerId="ADAL" clId="{4E22EDF5-2883-5D57-B9C7-04E66950367B}" dt="2026-01-12T17:29:11.466" v="18868" actId="1076"/>
          <ac:picMkLst>
            <pc:docMk/>
            <pc:sldMk cId="1030192792" sldId="2147483590"/>
            <ac:picMk id="2" creationId="{3784AF30-0889-0168-F17F-1935FFA1C0C1}"/>
          </ac:picMkLst>
        </pc:picChg>
      </pc:sldChg>
      <pc:sldChg chg="addSp modSp new mod">
        <pc:chgData name="Jan Cordtz" userId="b5e592fb-fc8b-4323-a97d-691438b2e2da" providerId="ADAL" clId="{4E22EDF5-2883-5D57-B9C7-04E66950367B}" dt="2026-01-12T17:32:04.827" v="18871" actId="1076"/>
        <pc:sldMkLst>
          <pc:docMk/>
          <pc:sldMk cId="35843359" sldId="2147483591"/>
        </pc:sldMkLst>
        <pc:picChg chg="add mod">
          <ac:chgData name="Jan Cordtz" userId="b5e592fb-fc8b-4323-a97d-691438b2e2da" providerId="ADAL" clId="{4E22EDF5-2883-5D57-B9C7-04E66950367B}" dt="2026-01-12T17:32:04.827" v="18871" actId="1076"/>
          <ac:picMkLst>
            <pc:docMk/>
            <pc:sldMk cId="35843359" sldId="2147483591"/>
            <ac:picMk id="2" creationId="{0DBB779E-5940-BAFD-D618-D42B173A5520}"/>
          </ac:picMkLst>
        </pc:picChg>
      </pc:sldChg>
      <pc:sldChg chg="addSp modSp new mod">
        <pc:chgData name="Jan Cordtz" userId="b5e592fb-fc8b-4323-a97d-691438b2e2da" providerId="ADAL" clId="{4E22EDF5-2883-5D57-B9C7-04E66950367B}" dt="2026-01-12T17:32:37.595" v="18874" actId="1076"/>
        <pc:sldMkLst>
          <pc:docMk/>
          <pc:sldMk cId="3979378046" sldId="2147483592"/>
        </pc:sldMkLst>
        <pc:picChg chg="add mod">
          <ac:chgData name="Jan Cordtz" userId="b5e592fb-fc8b-4323-a97d-691438b2e2da" providerId="ADAL" clId="{4E22EDF5-2883-5D57-B9C7-04E66950367B}" dt="2026-01-12T17:32:37.595" v="18874" actId="1076"/>
          <ac:picMkLst>
            <pc:docMk/>
            <pc:sldMk cId="3979378046" sldId="2147483592"/>
            <ac:picMk id="2" creationId="{A7B0962C-CD51-8EE2-7CA7-44DC021B8E74}"/>
          </ac:picMkLst>
        </pc:picChg>
      </pc:sldChg>
      <pc:sldChg chg="addSp modSp new mod">
        <pc:chgData name="Jan Cordtz" userId="b5e592fb-fc8b-4323-a97d-691438b2e2da" providerId="ADAL" clId="{4E22EDF5-2883-5D57-B9C7-04E66950367B}" dt="2026-01-12T17:34:40.096" v="18877" actId="1076"/>
        <pc:sldMkLst>
          <pc:docMk/>
          <pc:sldMk cId="3578459916" sldId="2147483593"/>
        </pc:sldMkLst>
        <pc:picChg chg="add mod">
          <ac:chgData name="Jan Cordtz" userId="b5e592fb-fc8b-4323-a97d-691438b2e2da" providerId="ADAL" clId="{4E22EDF5-2883-5D57-B9C7-04E66950367B}" dt="2026-01-12T17:34:40.096" v="18877" actId="1076"/>
          <ac:picMkLst>
            <pc:docMk/>
            <pc:sldMk cId="3578459916" sldId="2147483593"/>
            <ac:picMk id="2" creationId="{846F04E1-E5C4-FECC-AF09-A644AE08A413}"/>
          </ac:picMkLst>
        </pc:picChg>
      </pc:sldChg>
      <pc:sldChg chg="addSp modSp new mod">
        <pc:chgData name="Jan Cordtz" userId="b5e592fb-fc8b-4323-a97d-691438b2e2da" providerId="ADAL" clId="{4E22EDF5-2883-5D57-B9C7-04E66950367B}" dt="2026-01-12T17:35:32.890" v="18880" actId="1076"/>
        <pc:sldMkLst>
          <pc:docMk/>
          <pc:sldMk cId="2230621755" sldId="2147483594"/>
        </pc:sldMkLst>
        <pc:picChg chg="add mod">
          <ac:chgData name="Jan Cordtz" userId="b5e592fb-fc8b-4323-a97d-691438b2e2da" providerId="ADAL" clId="{4E22EDF5-2883-5D57-B9C7-04E66950367B}" dt="2026-01-12T17:35:32.890" v="18880" actId="1076"/>
          <ac:picMkLst>
            <pc:docMk/>
            <pc:sldMk cId="2230621755" sldId="2147483594"/>
            <ac:picMk id="2" creationId="{1B1B92BC-E90A-06AF-4DEF-A327D5BC991D}"/>
          </ac:picMkLst>
        </pc:picChg>
      </pc:sldChg>
      <pc:sldChg chg="addSp modSp new mod">
        <pc:chgData name="Jan Cordtz" userId="b5e592fb-fc8b-4323-a97d-691438b2e2da" providerId="ADAL" clId="{4E22EDF5-2883-5D57-B9C7-04E66950367B}" dt="2026-01-12T17:36:23.842" v="18883" actId="1076"/>
        <pc:sldMkLst>
          <pc:docMk/>
          <pc:sldMk cId="2420687764" sldId="2147483595"/>
        </pc:sldMkLst>
        <pc:picChg chg="add mod">
          <ac:chgData name="Jan Cordtz" userId="b5e592fb-fc8b-4323-a97d-691438b2e2da" providerId="ADAL" clId="{4E22EDF5-2883-5D57-B9C7-04E66950367B}" dt="2026-01-12T17:36:23.842" v="18883" actId="1076"/>
          <ac:picMkLst>
            <pc:docMk/>
            <pc:sldMk cId="2420687764" sldId="2147483595"/>
            <ac:picMk id="2" creationId="{92E6E3F2-1BB2-9051-1B57-64B310CF17F8}"/>
          </ac:picMkLst>
        </pc:picChg>
      </pc:sldChg>
      <pc:sldChg chg="addSp modSp new mod">
        <pc:chgData name="Jan Cordtz" userId="b5e592fb-fc8b-4323-a97d-691438b2e2da" providerId="ADAL" clId="{4E22EDF5-2883-5D57-B9C7-04E66950367B}" dt="2026-01-12T17:38:09.998" v="18887" actId="1076"/>
        <pc:sldMkLst>
          <pc:docMk/>
          <pc:sldMk cId="3390104904" sldId="2147483596"/>
        </pc:sldMkLst>
        <pc:picChg chg="add mod">
          <ac:chgData name="Jan Cordtz" userId="b5e592fb-fc8b-4323-a97d-691438b2e2da" providerId="ADAL" clId="{4E22EDF5-2883-5D57-B9C7-04E66950367B}" dt="2026-01-12T17:38:09.998" v="18887" actId="1076"/>
          <ac:picMkLst>
            <pc:docMk/>
            <pc:sldMk cId="3390104904" sldId="2147483596"/>
            <ac:picMk id="2" creationId="{5E4B7D80-F00B-A204-9FE6-21B6839E1AD4}"/>
          </ac:picMkLst>
        </pc:picChg>
      </pc:sldChg>
      <pc:sldChg chg="addSp modSp new mod">
        <pc:chgData name="Jan Cordtz" userId="b5e592fb-fc8b-4323-a97d-691438b2e2da" providerId="ADAL" clId="{4E22EDF5-2883-5D57-B9C7-04E66950367B}" dt="2026-01-12T17:38:38.020" v="18890" actId="1076"/>
        <pc:sldMkLst>
          <pc:docMk/>
          <pc:sldMk cId="4162734165" sldId="2147483597"/>
        </pc:sldMkLst>
        <pc:picChg chg="add mod">
          <ac:chgData name="Jan Cordtz" userId="b5e592fb-fc8b-4323-a97d-691438b2e2da" providerId="ADAL" clId="{4E22EDF5-2883-5D57-B9C7-04E66950367B}" dt="2026-01-12T17:38:38.020" v="18890" actId="1076"/>
          <ac:picMkLst>
            <pc:docMk/>
            <pc:sldMk cId="4162734165" sldId="2147483597"/>
            <ac:picMk id="2" creationId="{B8AC911B-4297-01FC-A822-73A968EDB434}"/>
          </ac:picMkLst>
        </pc:picChg>
      </pc:sldChg>
      <pc:sldChg chg="addSp modSp new mod">
        <pc:chgData name="Jan Cordtz" userId="b5e592fb-fc8b-4323-a97d-691438b2e2da" providerId="ADAL" clId="{4E22EDF5-2883-5D57-B9C7-04E66950367B}" dt="2026-01-12T17:39:26.753" v="18893" actId="1076"/>
        <pc:sldMkLst>
          <pc:docMk/>
          <pc:sldMk cId="822328309" sldId="2147483598"/>
        </pc:sldMkLst>
        <pc:picChg chg="add mod">
          <ac:chgData name="Jan Cordtz" userId="b5e592fb-fc8b-4323-a97d-691438b2e2da" providerId="ADAL" clId="{4E22EDF5-2883-5D57-B9C7-04E66950367B}" dt="2026-01-12T17:39:26.753" v="18893" actId="1076"/>
          <ac:picMkLst>
            <pc:docMk/>
            <pc:sldMk cId="822328309" sldId="2147483598"/>
            <ac:picMk id="2" creationId="{2A447FA9-C965-92DB-C9AB-AF24C13701C9}"/>
          </ac:picMkLst>
        </pc:picChg>
      </pc:sldChg>
      <pc:sldChg chg="addSp modSp new mod">
        <pc:chgData name="Jan Cordtz" userId="b5e592fb-fc8b-4323-a97d-691438b2e2da" providerId="ADAL" clId="{4E22EDF5-2883-5D57-B9C7-04E66950367B}" dt="2026-01-12T17:40:38.588" v="18896" actId="1076"/>
        <pc:sldMkLst>
          <pc:docMk/>
          <pc:sldMk cId="1648370399" sldId="2147483599"/>
        </pc:sldMkLst>
        <pc:picChg chg="add mod">
          <ac:chgData name="Jan Cordtz" userId="b5e592fb-fc8b-4323-a97d-691438b2e2da" providerId="ADAL" clId="{4E22EDF5-2883-5D57-B9C7-04E66950367B}" dt="2026-01-12T17:40:38.588" v="18896" actId="1076"/>
          <ac:picMkLst>
            <pc:docMk/>
            <pc:sldMk cId="1648370399" sldId="2147483599"/>
            <ac:picMk id="2" creationId="{DC4E943B-250E-F4ED-9B95-16C7CB82EEEB}"/>
          </ac:picMkLst>
        </pc:picChg>
      </pc:sldChg>
      <pc:sldChg chg="addSp modSp new mod">
        <pc:chgData name="Jan Cordtz" userId="b5e592fb-fc8b-4323-a97d-691438b2e2da" providerId="ADAL" clId="{4E22EDF5-2883-5D57-B9C7-04E66950367B}" dt="2026-01-12T17:41:09.743" v="18899" actId="1076"/>
        <pc:sldMkLst>
          <pc:docMk/>
          <pc:sldMk cId="1322040020" sldId="2147483600"/>
        </pc:sldMkLst>
        <pc:picChg chg="add mod">
          <ac:chgData name="Jan Cordtz" userId="b5e592fb-fc8b-4323-a97d-691438b2e2da" providerId="ADAL" clId="{4E22EDF5-2883-5D57-B9C7-04E66950367B}" dt="2026-01-12T17:41:09.743" v="18899" actId="1076"/>
          <ac:picMkLst>
            <pc:docMk/>
            <pc:sldMk cId="1322040020" sldId="2147483600"/>
            <ac:picMk id="2" creationId="{EB46CEE9-50BF-A0DB-D5F3-6B666247A592}"/>
          </ac:picMkLst>
        </pc:picChg>
      </pc:sldChg>
      <pc:sldMasterChg chg="delSldLayout modSldLayout">
        <pc:chgData name="Jan Cordtz" userId="b5e592fb-fc8b-4323-a97d-691438b2e2da" providerId="ADAL" clId="{4E22EDF5-2883-5D57-B9C7-04E66950367B}" dt="2025-12-19T05:53:23.655" v="8875" actId="2696"/>
        <pc:sldMasterMkLst>
          <pc:docMk/>
          <pc:sldMasterMk cId="2167567657" sldId="2147484679"/>
        </pc:sldMasterMkLst>
        <pc:sldLayoutChg chg="addSp delSp modSp mod">
          <pc:chgData name="Jan Cordtz" userId="b5e592fb-fc8b-4323-a97d-691438b2e2da" providerId="ADAL" clId="{4E22EDF5-2883-5D57-B9C7-04E66950367B}" dt="2025-12-16T08:24:25.424" v="74" actId="478"/>
          <pc:sldLayoutMkLst>
            <pc:docMk/>
            <pc:sldMasterMk cId="2167567657" sldId="2147484679"/>
            <pc:sldLayoutMk cId="2846351627" sldId="2147484804"/>
          </pc:sldLayoutMkLst>
        </pc:sldLayoutChg>
      </pc:sldMaster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0B620E76-BD2A-807A-4F6B-E2A2A2283890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E029C42-B4BE-60D8-A545-51ED2B96F31A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155ECE5-EB93-2D49-8FD9-DADF7BF71AD3}" type="datetimeFigureOut">
              <a:rPr lang="en-US" smtClean="0"/>
              <a:t>1/13/26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4EDE36F-DAD8-F01F-BFE8-FDEDCF89C996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101387A-ED64-7FD6-C691-6161AE846AE4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2108420-07C5-0549-A563-96974B861BA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464146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FF44038-DA64-46A7-879B-15C019DD587C}" type="datetimeFigureOut">
              <a:rPr lang="en-US" smtClean="0"/>
              <a:t>1/12/2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6E54E06-3DA0-4567-A557-9A2D7B97E8B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24223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33"/>
              </a:spcAft>
              <a:buClrTx/>
              <a:buSzTx/>
              <a:buFontTx/>
              <a:buNone/>
              <a:tabLst/>
              <a:defRPr/>
            </a:pPr>
            <a:endParaRPr lang="en-US" sz="900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57150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F453572-9C5C-4AEF-8FA5-D17DDB1F0B8A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/12/26 6:49 PM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6593235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6E54E06-3DA0-4567-A557-9A2D7B97E8BB}" type="slidenum">
              <a:rPr lang="en-US" smtClean="0"/>
              <a:t>3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844373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65552EB-8ED2-C28F-8265-17E51FAAFD9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862CDF9-B590-9005-BACF-6F9E66C86B3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4BC2C8C-063E-8E5A-14D7-0D0A701F997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3AEAA07-A0D6-A500-9F18-3B10D6763AE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6E54E06-3DA0-4567-A557-9A2D7B97E8BB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38844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322DD67-223B-1629-9BAD-4F20AB64A1D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853260B-0870-B643-1CA4-57DE4528149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763B8B4-D8EF-3DB4-23AC-762FA4BC306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C2700FD-1233-B0A2-286A-D0D818630A7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6E54E06-3DA0-4567-A557-9A2D7B97E8BB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753773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5DAF6F0-CB76-15AC-CB12-835F9FD4A50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E4C6E62-158F-78DD-88AB-F999A47C7BF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7DC288F-D9D1-BE08-6F3A-759401C741F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61E24A5-B3F3-9896-2CD2-CBCFB94C633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6E54E06-3DA0-4567-A557-9A2D7B97E8BB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5054693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3219F46-DE00-A91B-6F24-8D888599D20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6915C27-E005-0146-1814-2400A4AA5EF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53A4784-17D9-D3F4-513C-E7C1D479642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33D790C-0094-DD87-6086-083D180B9C7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6E54E06-3DA0-4567-A557-9A2D7B97E8BB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019851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BF7D487-44C1-8C8B-58F4-818D48E7190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C5779E1-2E7F-376B-D496-F3BD6DB90B1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EE6011C-FEE7-0059-3AE0-86F7B32D562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8D357AD-E37E-CC3B-7F47-E94FE41E486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6E54E06-3DA0-4567-A557-9A2D7B97E8BB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907285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52AD3BF-61B6-C42B-FF86-1D4F90DDDFF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0007CCE-8FD4-492C-C0B9-F2C241162C4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2467C9E-5095-079D-6C62-847A7FBFEFF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F96BF4C-D056-8661-B734-7949A06E602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6E54E06-3DA0-4567-A557-9A2D7B97E8BB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293618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F378609-149C-DF41-6778-9A3BD564CA3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C0F6CFD-92D4-65B1-E561-FA32814A17D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1946D3D-BA59-78CB-ECE7-29F2F00F8D2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FD11BB8-A962-0597-DBDB-6F9D72D0378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6E54E06-3DA0-4567-A557-9A2D7B97E8BB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7089260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1D151E4-7216-C72B-1D0E-15FCA9D9AF6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329F9A9-041F-EC19-3F93-4283E845DD5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F097BF0-7EB8-D64B-224E-5EDC2CAAAD0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5FDC3B8-6F39-5216-B49B-515456A36A5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6E54E06-3DA0-4567-A557-9A2D7B97E8BB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353893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ope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close up of a jellyfish&#10;&#10;Description automatically generated with low confidence">
            <a:extLst>
              <a:ext uri="{FF2B5EF4-FFF2-40B4-BE49-F238E27FC236}">
                <a16:creationId xmlns:a16="http://schemas.microsoft.com/office/drawing/2014/main" id="{6A6D1CED-EFAD-5CC5-6AD3-E20129E5E77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alphaModFix amt="46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-1"/>
            <a:ext cx="5279923" cy="68580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122893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1D5950A1-EF57-F961-9B38-13F40395B7E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alphaModFix amt="3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49147"/>
          <a:stretch/>
        </p:blipFill>
        <p:spPr>
          <a:xfrm flipH="1">
            <a:off x="0" y="-6626"/>
            <a:ext cx="12192000" cy="68646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273841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1D5950A1-EF57-F961-9B38-13F40395B7E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alphaModFix amt="3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49147"/>
          <a:stretch/>
        </p:blipFill>
        <p:spPr>
          <a:xfrm>
            <a:off x="0" y="0"/>
            <a:ext cx="12192000" cy="68646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185277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purple flower with a black background&#10;&#10;Description automatically generated with medium confidence">
            <a:extLst>
              <a:ext uri="{FF2B5EF4-FFF2-40B4-BE49-F238E27FC236}">
                <a16:creationId xmlns:a16="http://schemas.microsoft.com/office/drawing/2014/main" id="{458CC301-4694-33FA-1A6F-2621EAAF177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2555"/>
          <a:stretch/>
        </p:blipFill>
        <p:spPr>
          <a:xfrm>
            <a:off x="7472516" y="0"/>
            <a:ext cx="4719484" cy="63129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952804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05679394-6087-568B-CC4E-18CFD1A7AD1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alphaModFix amt="4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25484"/>
          <a:stretch/>
        </p:blipFill>
        <p:spPr>
          <a:xfrm>
            <a:off x="0" y="2473263"/>
            <a:ext cx="4316896" cy="43847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476028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05679394-6087-568B-CC4E-18CFD1A7AD1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6586" b="-20295"/>
          <a:stretch/>
        </p:blipFill>
        <p:spPr>
          <a:xfrm>
            <a:off x="0" y="0"/>
            <a:ext cx="2840019" cy="58629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721768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05679394-6087-568B-CC4E-18CFD1A7AD1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13431" b="-61696"/>
          <a:stretch/>
        </p:blipFill>
        <p:spPr>
          <a:xfrm>
            <a:off x="0" y="0"/>
            <a:ext cx="2840019" cy="58629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537640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05679394-6087-568B-CC4E-18CFD1A7AD1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13431" b="-61696"/>
          <a:stretch/>
        </p:blipFill>
        <p:spPr>
          <a:xfrm flipH="1">
            <a:off x="9351981" y="0"/>
            <a:ext cx="2840019" cy="58629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703329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picture containing text, vector graphics&#10;&#10;Description automatically generated">
            <a:extLst>
              <a:ext uri="{FF2B5EF4-FFF2-40B4-BE49-F238E27FC236}">
                <a16:creationId xmlns:a16="http://schemas.microsoft.com/office/drawing/2014/main" id="{EC2CAC23-1268-5E7C-87AE-680DA7F183B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alphaModFix amt="66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0" y="0"/>
            <a:ext cx="5671457" cy="31932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16055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5">
          <p15:clr>
            <a:srgbClr val="A4A3A4"/>
          </p15:clr>
        </p15:guide>
        <p15:guide id="16" pos="384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6390" y="1434370"/>
            <a:ext cx="11018520" cy="2308324"/>
          </a:xfrm>
        </p:spPr>
        <p:txBody>
          <a:bodyPr/>
          <a:lstStyle>
            <a:lvl1pPr marL="0" indent="0">
              <a:buNone/>
              <a:defRPr/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1C1D4F9E-3D5B-5D64-BA24-7989A46F1A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IN"/>
              <a:t>Microsoft Confidential–Internal Only</a:t>
            </a:r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813CC769-9046-D715-EE31-D61D965914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FF8131C-5610-8B47-A47C-619DDB744FE1}" type="slidenum">
              <a:rPr lang="en-IN"/>
              <a:pPr>
                <a:defRPr/>
              </a:pPr>
              <a:t>‹#›</a:t>
            </a:fld>
            <a:endParaRPr lang="en-IN"/>
          </a:p>
        </p:txBody>
      </p:sp>
      <p:pic>
        <p:nvPicPr>
          <p:cNvPr id="5" name="Picture 4" descr="A close up of a jellyfish&#10;&#10;Description automatically generated with low confidence">
            <a:extLst>
              <a:ext uri="{FF2B5EF4-FFF2-40B4-BE49-F238E27FC236}">
                <a16:creationId xmlns:a16="http://schemas.microsoft.com/office/drawing/2014/main" id="{7243609A-36AD-717F-E0B4-594D21A9C3C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alphaModFix amt="46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912077" y="-1"/>
            <a:ext cx="5279923" cy="68580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0546702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ex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5995" y="620428"/>
            <a:ext cx="11306469" cy="40313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lnSpc>
                <a:spcPts val="3137"/>
              </a:lnSpc>
              <a:defRPr sz="2745">
                <a:solidFill>
                  <a:srgbClr val="000000"/>
                </a:solidFill>
              </a:defRPr>
            </a:lvl1pPr>
          </a:lstStyle>
          <a:p>
            <a:r>
              <a:rPr lang="en-US" dirty="0"/>
              <a:t>Heading Segoe UI </a:t>
            </a:r>
            <a:r>
              <a:rPr lang="en-US" dirty="0" err="1"/>
              <a:t>Semibold</a:t>
            </a:r>
            <a:r>
              <a:rPr lang="en-US" dirty="0"/>
              <a:t> 28/32</a:t>
            </a:r>
          </a:p>
        </p:txBody>
      </p:sp>
      <p:sp>
        <p:nvSpPr>
          <p:cNvPr id="18" name="Text Box 3">
            <a:extLst>
              <a:ext uri="{FF2B5EF4-FFF2-40B4-BE49-F238E27FC236}">
                <a16:creationId xmlns:a16="http://schemas.microsoft.com/office/drawing/2014/main" id="{19F02595-114B-2D46-ABDC-5E65D166807C}"/>
              </a:ext>
            </a:extLst>
          </p:cNvPr>
          <p:cNvSpPr txBox="1">
            <a:spLocks noChangeArrowheads="1"/>
          </p:cNvSpPr>
          <p:nvPr userDrawn="1"/>
        </p:nvSpPr>
        <p:spPr bwMode="blackWhite">
          <a:xfrm>
            <a:off x="454169" y="6455174"/>
            <a:ext cx="11306469" cy="105619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defTabSz="913924" eaLnBrk="0" hangingPunct="0"/>
            <a:r>
              <a:rPr lang="en-US" sz="686">
                <a:solidFill>
                  <a:schemeClr val="accent6">
                    <a:lumMod val="75000"/>
                  </a:schemeClr>
                </a:solidFill>
                <a:cs typeface="Segoe UI" pitchFamily="34" charset="0"/>
              </a:rPr>
              <a:t>©Microsoft Corporation									                                                                                                                                             Azure 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FEE1E43F-C091-614B-AA20-F39D0AACAA1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5995" y="1922586"/>
            <a:ext cx="9384447" cy="337496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336145" marR="0" indent="-336145" algn="l" defTabSz="914367" rtl="0" eaLnBrk="1" fontAlgn="auto" latinLnBrk="0" hangingPunct="1">
              <a:lnSpc>
                <a:spcPts val="2353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Char char="•"/>
              <a:tabLst/>
              <a:defRPr lang="en-US" sz="1961" kern="1200" spc="0" baseline="0" dirty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224097" indent="0">
              <a:buNone/>
              <a:defRPr/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 dirty="0"/>
              <a:t>Bulleted list Segoe UI Regular 20/24. Dis </a:t>
            </a:r>
            <a:r>
              <a:rPr lang="en-US" dirty="0" err="1"/>
              <a:t>apid</a:t>
            </a:r>
            <a:r>
              <a:rPr lang="en-US" dirty="0"/>
              <a:t> es </a:t>
            </a:r>
            <a:r>
              <a:rPr lang="en-US" dirty="0" err="1"/>
              <a:t>simusanditis</a:t>
            </a:r>
            <a:r>
              <a:rPr lang="en-US" dirty="0"/>
              <a:t> </a:t>
            </a:r>
            <a:r>
              <a:rPr lang="en-US" dirty="0" err="1"/>
              <a:t>ea</a:t>
            </a:r>
            <a:r>
              <a:rPr lang="en-US" dirty="0"/>
              <a:t> ex et </a:t>
            </a:r>
            <a:r>
              <a:rPr lang="en-US" dirty="0" err="1"/>
              <a:t>illore</a:t>
            </a:r>
            <a:r>
              <a:rPr lang="en-US" dirty="0"/>
              <a:t>, </a:t>
            </a:r>
            <a:r>
              <a:rPr lang="en-US" dirty="0" err="1"/>
              <a:t>nectationet</a:t>
            </a:r>
            <a:r>
              <a:rPr lang="en-US" dirty="0"/>
              <a:t> </a:t>
            </a:r>
            <a:r>
              <a:rPr lang="en-US" dirty="0" err="1"/>
              <a:t>aut</a:t>
            </a:r>
            <a:r>
              <a:rPr lang="en-US" dirty="0"/>
              <a:t> </a:t>
            </a:r>
            <a:r>
              <a:rPr lang="en-US" dirty="0" err="1"/>
              <a:t>dic</a:t>
            </a:r>
            <a:r>
              <a:rPr lang="en-US" dirty="0"/>
              <a:t> </a:t>
            </a:r>
            <a:r>
              <a:rPr lang="en-US" dirty="0" err="1"/>
              <a:t>tem</a:t>
            </a:r>
            <a:r>
              <a:rPr lang="en-US" dirty="0"/>
              <a:t> vit </a:t>
            </a:r>
            <a:r>
              <a:rPr lang="en-US" dirty="0" err="1"/>
              <a:t>velestium</a:t>
            </a:r>
            <a:r>
              <a:rPr lang="en-US" dirty="0"/>
              <a:t> </a:t>
            </a:r>
            <a:r>
              <a:rPr lang="en-US" dirty="0" err="1"/>
              <a:t>reperro</a:t>
            </a:r>
            <a:r>
              <a:rPr lang="en-US" dirty="0"/>
              <a:t> </a:t>
            </a:r>
            <a:r>
              <a:rPr lang="en-US" dirty="0" err="1"/>
              <a:t>rroviduntion</a:t>
            </a:r>
            <a:r>
              <a:rPr lang="en-US" dirty="0"/>
              <a:t> </a:t>
            </a:r>
            <a:r>
              <a:rPr lang="en-US" dirty="0" err="1"/>
              <a:t>conem</a:t>
            </a:r>
            <a:r>
              <a:rPr lang="en-US" dirty="0"/>
              <a:t> </a:t>
            </a:r>
            <a:r>
              <a:rPr lang="en-US" dirty="0" err="1"/>
              <a:t>rehend</a:t>
            </a:r>
            <a:br>
              <a:rPr lang="en-US" dirty="0"/>
            </a:br>
            <a:endParaRPr lang="en-US" dirty="0"/>
          </a:p>
          <a:p>
            <a:pPr marL="336145" marR="0" lvl="0" indent="-336145" algn="l" defTabSz="914367" rtl="0" eaLnBrk="1" fontAlgn="auto" latinLnBrk="0" hangingPunct="1">
              <a:lnSpc>
                <a:spcPts val="2353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Bulleted list Segoe UI Regular 20/24. Dis </a:t>
            </a:r>
            <a:r>
              <a:rPr lang="en-US" dirty="0" err="1"/>
              <a:t>apid</a:t>
            </a:r>
            <a:r>
              <a:rPr lang="en-US" dirty="0"/>
              <a:t> es </a:t>
            </a:r>
            <a:r>
              <a:rPr lang="en-US" dirty="0" err="1"/>
              <a:t>simusanditis</a:t>
            </a:r>
            <a:r>
              <a:rPr lang="en-US" dirty="0"/>
              <a:t> </a:t>
            </a:r>
            <a:r>
              <a:rPr lang="en-US" dirty="0" err="1"/>
              <a:t>ea</a:t>
            </a:r>
            <a:r>
              <a:rPr lang="en-US" dirty="0"/>
              <a:t> ex et </a:t>
            </a:r>
            <a:r>
              <a:rPr lang="en-US" dirty="0" err="1"/>
              <a:t>illore</a:t>
            </a:r>
            <a:r>
              <a:rPr lang="en-US" dirty="0"/>
              <a:t>, </a:t>
            </a:r>
            <a:r>
              <a:rPr lang="en-US" dirty="0" err="1"/>
              <a:t>nectationet</a:t>
            </a:r>
            <a:r>
              <a:rPr lang="en-US" dirty="0"/>
              <a:t> </a:t>
            </a:r>
            <a:r>
              <a:rPr lang="en-US" dirty="0" err="1"/>
              <a:t>aut</a:t>
            </a:r>
            <a:r>
              <a:rPr lang="en-US" dirty="0"/>
              <a:t> </a:t>
            </a:r>
            <a:r>
              <a:rPr lang="en-US" dirty="0" err="1"/>
              <a:t>dic</a:t>
            </a:r>
            <a:r>
              <a:rPr lang="en-US" dirty="0"/>
              <a:t> </a:t>
            </a:r>
            <a:r>
              <a:rPr lang="en-US" dirty="0" err="1"/>
              <a:t>tem</a:t>
            </a:r>
            <a:r>
              <a:rPr lang="en-US" dirty="0"/>
              <a:t> vit </a:t>
            </a:r>
            <a:r>
              <a:rPr lang="en-US" dirty="0" err="1"/>
              <a:t>velestium</a:t>
            </a:r>
            <a:r>
              <a:rPr lang="en-US" dirty="0"/>
              <a:t> </a:t>
            </a:r>
            <a:r>
              <a:rPr lang="en-US" dirty="0" err="1"/>
              <a:t>reperro</a:t>
            </a:r>
            <a:r>
              <a:rPr lang="en-US" dirty="0"/>
              <a:t> </a:t>
            </a:r>
            <a:r>
              <a:rPr lang="en-US" dirty="0" err="1"/>
              <a:t>rroviduntion</a:t>
            </a:r>
            <a:r>
              <a:rPr lang="en-US" dirty="0"/>
              <a:t> </a:t>
            </a:r>
            <a:r>
              <a:rPr lang="en-US" dirty="0" err="1"/>
              <a:t>conem</a:t>
            </a:r>
            <a:r>
              <a:rPr lang="en-US" dirty="0"/>
              <a:t> </a:t>
            </a:r>
            <a:r>
              <a:rPr lang="en-US" dirty="0" err="1"/>
              <a:t>rehend</a:t>
            </a:r>
            <a:br>
              <a:rPr lang="en-US" dirty="0"/>
            </a:br>
            <a:endParaRPr lang="en-US" dirty="0"/>
          </a:p>
          <a:p>
            <a:pPr marL="336145" marR="0" lvl="0" indent="-336145" algn="l" defTabSz="914367" rtl="0" eaLnBrk="1" fontAlgn="auto" latinLnBrk="0" hangingPunct="1">
              <a:lnSpc>
                <a:spcPts val="2353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Bulleted list Segoe UI Regular 20/24. Dis </a:t>
            </a:r>
            <a:r>
              <a:rPr lang="en-US" dirty="0" err="1"/>
              <a:t>apid</a:t>
            </a:r>
            <a:r>
              <a:rPr lang="en-US" dirty="0"/>
              <a:t> es </a:t>
            </a:r>
            <a:r>
              <a:rPr lang="en-US" dirty="0" err="1"/>
              <a:t>simusanditis</a:t>
            </a:r>
            <a:r>
              <a:rPr lang="en-US" dirty="0"/>
              <a:t> </a:t>
            </a:r>
            <a:r>
              <a:rPr lang="en-US" dirty="0" err="1"/>
              <a:t>ea</a:t>
            </a:r>
            <a:r>
              <a:rPr lang="en-US" dirty="0"/>
              <a:t> ex et </a:t>
            </a:r>
            <a:r>
              <a:rPr lang="en-US" dirty="0" err="1"/>
              <a:t>illore</a:t>
            </a:r>
            <a:r>
              <a:rPr lang="en-US" dirty="0"/>
              <a:t>, </a:t>
            </a:r>
            <a:r>
              <a:rPr lang="en-US" dirty="0" err="1"/>
              <a:t>nectationet</a:t>
            </a:r>
            <a:r>
              <a:rPr lang="en-US" dirty="0"/>
              <a:t> </a:t>
            </a:r>
            <a:r>
              <a:rPr lang="en-US" dirty="0" err="1"/>
              <a:t>aut</a:t>
            </a:r>
            <a:r>
              <a:rPr lang="en-US" dirty="0"/>
              <a:t> </a:t>
            </a:r>
            <a:r>
              <a:rPr lang="en-US" dirty="0" err="1"/>
              <a:t>dic</a:t>
            </a:r>
            <a:r>
              <a:rPr lang="en-US" dirty="0"/>
              <a:t> </a:t>
            </a:r>
            <a:r>
              <a:rPr lang="en-US" dirty="0" err="1"/>
              <a:t>tem</a:t>
            </a:r>
            <a:r>
              <a:rPr lang="en-US" dirty="0"/>
              <a:t> vit </a:t>
            </a:r>
            <a:r>
              <a:rPr lang="en-US" dirty="0" err="1"/>
              <a:t>velestium</a:t>
            </a:r>
            <a:r>
              <a:rPr lang="en-US" dirty="0"/>
              <a:t> </a:t>
            </a:r>
            <a:r>
              <a:rPr lang="en-US" dirty="0" err="1"/>
              <a:t>reperro</a:t>
            </a:r>
            <a:r>
              <a:rPr lang="en-US" dirty="0"/>
              <a:t> </a:t>
            </a:r>
            <a:r>
              <a:rPr lang="en-US" dirty="0" err="1"/>
              <a:t>rroviduntion</a:t>
            </a:r>
            <a:r>
              <a:rPr lang="en-US" dirty="0"/>
              <a:t> </a:t>
            </a:r>
            <a:r>
              <a:rPr lang="en-US" dirty="0" err="1"/>
              <a:t>conem</a:t>
            </a:r>
            <a:r>
              <a:rPr lang="en-US" dirty="0"/>
              <a:t> </a:t>
            </a:r>
            <a:r>
              <a:rPr lang="en-US" dirty="0" err="1"/>
              <a:t>rehend</a:t>
            </a:r>
            <a:endParaRPr lang="en-US" dirty="0"/>
          </a:p>
          <a:p>
            <a:pPr lvl="0"/>
            <a:endParaRPr lang="en-US" dirty="0"/>
          </a:p>
          <a:p>
            <a:pPr lvl="0"/>
            <a:endParaRPr lang="en-US" dirty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90996557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ection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B553A46E-C8B2-07FC-6842-6E29F4237B2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alphaModFix amt="3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49147"/>
          <a:stretch/>
        </p:blipFill>
        <p:spPr>
          <a:xfrm flipH="1">
            <a:off x="0" y="-6626"/>
            <a:ext cx="12192000" cy="6864626"/>
          </a:xfrm>
          <a:prstGeom prst="rect">
            <a:avLst/>
          </a:prstGeom>
        </p:spPr>
      </p:pic>
      <p:sp>
        <p:nvSpPr>
          <p:cNvPr id="2" name="Text Placeholder 15">
            <a:extLst>
              <a:ext uri="{FF2B5EF4-FFF2-40B4-BE49-F238E27FC236}">
                <a16:creationId xmlns:a16="http://schemas.microsoft.com/office/drawing/2014/main" id="{6BD9C85B-EC8F-D695-0FA1-6791980AB25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199551" y="4038049"/>
            <a:ext cx="3231416" cy="13985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lang="en-US" sz="3200">
                <a:solidFill>
                  <a:schemeClr val="bg1"/>
                </a:solidFill>
                <a:latin typeface="Segoe Sans Display" pitchFamily="2" charset="0"/>
                <a:cs typeface="Segoe Sans Display" pitchFamily="2" charset="0"/>
              </a:defRPr>
            </a:lvl1pPr>
          </a:lstStyle>
          <a:p>
            <a:pPr marL="228600" lvl="0" indent="-228600"/>
            <a:r>
              <a:rPr lang="en-US" dirty="0"/>
              <a:t>Section title one</a:t>
            </a:r>
          </a:p>
        </p:txBody>
      </p:sp>
    </p:spTree>
    <p:extLst>
      <p:ext uri="{BB962C8B-B14F-4D97-AF65-F5344CB8AC3E}">
        <p14:creationId xmlns:p14="http://schemas.microsoft.com/office/powerpoint/2010/main" val="59036660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rgbClr val="FFFDF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BF18DD5-394A-4676-966A-43A5BAC6E00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Microsoft Purview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A399517-6D70-91AD-1227-F9D6955CDA7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1356FBF-028C-F74E-A7B4-9B8ED246DD1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536199F-AFBB-90E6-3138-4F79DE029A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1025" y="365125"/>
            <a:ext cx="11029949" cy="549275"/>
          </a:xfrm>
        </p:spPr>
        <p:txBody>
          <a:bodyPr anchor="b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2" name="Picture 1" descr="A close up of a jellyfish&#10;&#10;Description automatically generated with low confidence">
            <a:extLst>
              <a:ext uri="{FF2B5EF4-FFF2-40B4-BE49-F238E27FC236}">
                <a16:creationId xmlns:a16="http://schemas.microsoft.com/office/drawing/2014/main" id="{34D1DF6D-FC7A-C5D0-48D8-C8E0A0336AE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alphaModFix amt="46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912077" y="-1"/>
            <a:ext cx="5279923" cy="68580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06767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0" pos="1967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1" pos="5120">
          <p15:clr>
            <a:srgbClr val="A4A3A4"/>
          </p15:clr>
        </p15:guide>
        <p15:guide id="25" pos="6308">
          <p15:clr>
            <a:srgbClr val="A4A3A4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4_Large Number Divider 1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purple circle in the dark&#10;&#10;Description automatically generated">
            <a:extLst>
              <a:ext uri="{FF2B5EF4-FFF2-40B4-BE49-F238E27FC236}">
                <a16:creationId xmlns:a16="http://schemas.microsoft.com/office/drawing/2014/main" id="{3CBEDED0-2F8D-60CB-73EC-D8A926F1B19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alphaModFix amt="62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1535" b="4494"/>
          <a:stretch/>
        </p:blipFill>
        <p:spPr>
          <a:xfrm>
            <a:off x="-539045" y="807238"/>
            <a:ext cx="7730955" cy="6050762"/>
          </a:xfrm>
          <a:prstGeom prst="rect">
            <a:avLst/>
          </a:prstGeom>
        </p:spPr>
      </p:pic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D451A2C5-1E75-8EE3-22E6-59C938C37DB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07809" y="6311900"/>
            <a:ext cx="39928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 b="0" i="0">
                <a:solidFill>
                  <a:schemeClr val="tx1">
                    <a:tint val="75000"/>
                  </a:schemeClr>
                </a:solidFill>
                <a:latin typeface="Segoe Sans Small Semilight" pitchFamily="2" charset="0"/>
                <a:cs typeface="Segoe Sans Small Semilight" pitchFamily="2" charset="0"/>
              </a:defRPr>
            </a:lvl1pPr>
          </a:lstStyle>
          <a:p>
            <a:fld id="{B1356FBF-028C-F74E-A7B4-9B8ED246DD1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9">
            <a:extLst>
              <a:ext uri="{FF2B5EF4-FFF2-40B4-BE49-F238E27FC236}">
                <a16:creationId xmlns:a16="http://schemas.microsoft.com/office/drawing/2014/main" id="{7C14C3DD-159F-0E37-FA23-5C89134B7DD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07097" y="6311900"/>
            <a:ext cx="207873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 b="0" i="0">
                <a:solidFill>
                  <a:schemeClr val="tx1">
                    <a:tint val="75000"/>
                  </a:schemeClr>
                </a:solidFill>
                <a:latin typeface="Segoe Sans Small Semilight" pitchFamily="2" charset="0"/>
                <a:cs typeface="Segoe Sans Small Semilight" pitchFamily="2" charset="0"/>
              </a:defRPr>
            </a:lvl1pPr>
          </a:lstStyle>
          <a:p>
            <a:r>
              <a:rPr lang="en-US"/>
              <a:t>Microsoft Purview</a:t>
            </a:r>
          </a:p>
        </p:txBody>
      </p:sp>
    </p:spTree>
    <p:extLst>
      <p:ext uri="{BB962C8B-B14F-4D97-AF65-F5344CB8AC3E}">
        <p14:creationId xmlns:p14="http://schemas.microsoft.com/office/powerpoint/2010/main" val="111824400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ank you slide_logo v1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6">
            <a:extLst>
              <a:ext uri="{FF2B5EF4-FFF2-40B4-BE49-F238E27FC236}">
                <a16:creationId xmlns:a16="http://schemas.microsoft.com/office/drawing/2014/main" id="{B01B2829-96EF-EDD4-F5DC-8F6DFAFBCA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7810" y="3423718"/>
            <a:ext cx="3252990" cy="527045"/>
          </a:xfrm>
        </p:spPr>
        <p:txBody>
          <a:bodyPr>
            <a:noAutofit/>
          </a:bodyPr>
          <a:lstStyle>
            <a:lvl1pPr algn="l">
              <a:defRPr sz="3600" b="0" i="0">
                <a:gradFill flip="none" rotWithShape="1">
                  <a:gsLst>
                    <a:gs pos="0">
                      <a:srgbClr val="49C5B1"/>
                    </a:gs>
                    <a:gs pos="82000">
                      <a:srgbClr val="8551C5"/>
                    </a:gs>
                  </a:gsLst>
                  <a:lin ang="10800000" scaled="1"/>
                  <a:tileRect/>
                </a:gradFill>
                <a:latin typeface="Segoe Sans Display" pitchFamily="2" charset="0"/>
                <a:cs typeface="Segoe Sans Display" pitchFamily="2" charset="0"/>
              </a:defRPr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2" name="Picture 4">
            <a:extLst>
              <a:ext uri="{FF2B5EF4-FFF2-40B4-BE49-F238E27FC236}">
                <a16:creationId xmlns:a16="http://schemas.microsoft.com/office/drawing/2014/main" id="{9CDA471C-44FF-1A4B-B9F4-35DBB6FB41A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" r="-3390"/>
          <a:stretch/>
        </p:blipFill>
        <p:spPr>
          <a:xfrm>
            <a:off x="594808" y="293628"/>
            <a:ext cx="1566909" cy="544002"/>
          </a:xfrm>
          <a:prstGeom prst="rect">
            <a:avLst/>
          </a:prstGeom>
        </p:spPr>
      </p:pic>
      <p:pic>
        <p:nvPicPr>
          <p:cNvPr id="3" name="Picture 2" descr="A purple circle in the dark&#10;&#10;Description automatically generated">
            <a:extLst>
              <a:ext uri="{FF2B5EF4-FFF2-40B4-BE49-F238E27FC236}">
                <a16:creationId xmlns:a16="http://schemas.microsoft.com/office/drawing/2014/main" id="{4306B846-38BE-5723-8ACE-4C505C4C996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alphaModFix amt="62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1535" b="4494"/>
          <a:stretch/>
        </p:blipFill>
        <p:spPr>
          <a:xfrm>
            <a:off x="-539045" y="807238"/>
            <a:ext cx="7730955" cy="6050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854645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picture containing text, vector graphics&#10;&#10;Description automatically generated">
            <a:extLst>
              <a:ext uri="{FF2B5EF4-FFF2-40B4-BE49-F238E27FC236}">
                <a16:creationId xmlns:a16="http://schemas.microsoft.com/office/drawing/2014/main" id="{EC2CAC23-1268-5E7C-87AE-680DA7F183B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alphaModFix amt="66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20543" y="0"/>
            <a:ext cx="5671457" cy="31932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54885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5">
          <p15:clr>
            <a:srgbClr val="A4A3A4"/>
          </p15:clr>
        </p15:guide>
        <p15:guide id="16" pos="384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close up of a jellyfish&#10;&#10;Description automatically generated with low confidence">
            <a:extLst>
              <a:ext uri="{FF2B5EF4-FFF2-40B4-BE49-F238E27FC236}">
                <a16:creationId xmlns:a16="http://schemas.microsoft.com/office/drawing/2014/main" id="{6A6D1CED-EFAD-5CC5-6AD3-E20129E5E77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alphaModFix amt="46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-1"/>
            <a:ext cx="5279923" cy="68580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635162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close up of a jellyfish&#10;&#10;Description automatically generated with low confidence">
            <a:extLst>
              <a:ext uri="{FF2B5EF4-FFF2-40B4-BE49-F238E27FC236}">
                <a16:creationId xmlns:a16="http://schemas.microsoft.com/office/drawing/2014/main" id="{6A6D1CED-EFAD-5CC5-6AD3-E20129E5E77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alphaModFix amt="46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912077" y="-1"/>
            <a:ext cx="5279923" cy="68580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208730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picture containing bird, parrot&#10;&#10;Description automatically generated">
            <a:extLst>
              <a:ext uri="{FF2B5EF4-FFF2-40B4-BE49-F238E27FC236}">
                <a16:creationId xmlns:a16="http://schemas.microsoft.com/office/drawing/2014/main" id="{B6C67116-D23B-FFB4-4BF9-4EBB603DB72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alphaModFix amt="51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953"/>
          <a:stretch/>
        </p:blipFill>
        <p:spPr>
          <a:xfrm rot="1200000" flipH="1">
            <a:off x="7572751" y="-710028"/>
            <a:ext cx="5701622" cy="29637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88244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DF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999B5728-1D33-9E0D-152D-CDDC5FCE9D1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1329639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2" imgW="532" imgH="533" progId="TCLayout.ActiveDocument.1">
                  <p:embed/>
                </p:oleObj>
              </mc:Choice>
              <mc:Fallback>
                <p:oleObj name="think-cell Slide" r:id="rId22" imgW="532" imgH="533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99B5728-1D33-9E0D-152D-CDDC5FCE9D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C50E9EE7-FB3C-7D1F-A2DB-596E093888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1025" y="365125"/>
            <a:ext cx="11029949" cy="828675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/>
              <a:t>Title Slid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127FA82-318A-3A34-2934-24B034B5805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12571" y="6309519"/>
            <a:ext cx="39928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 b="0" i="0">
                <a:solidFill>
                  <a:schemeClr val="tx1">
                    <a:tint val="75000"/>
                  </a:schemeClr>
                </a:solidFill>
                <a:latin typeface="Segoe Sans Small Semilight" pitchFamily="2" charset="0"/>
                <a:cs typeface="Segoe Sans Small Semilight" pitchFamily="2" charset="0"/>
              </a:defRPr>
            </a:lvl1pPr>
          </a:lstStyle>
          <a:p>
            <a:fld id="{B1356FBF-028C-F74E-A7B4-9B8ED246DD1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8E92EE12-E16C-066A-7EFA-7E3A5BF6D57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11859" y="6309519"/>
            <a:ext cx="207873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 b="0" i="0">
                <a:solidFill>
                  <a:schemeClr val="tx1">
                    <a:tint val="75000"/>
                  </a:schemeClr>
                </a:solidFill>
                <a:latin typeface="Segoe Sans Small Semilight" pitchFamily="2" charset="0"/>
                <a:cs typeface="Segoe Sans Small Semilight" pitchFamily="2" charset="0"/>
              </a:defRPr>
            </a:lvl1pPr>
          </a:lstStyle>
          <a:p>
            <a:r>
              <a:rPr lang="en-US"/>
              <a:t>Microsoft Purview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160E398-2D0F-4954-1796-3B6310DECA0C}"/>
              </a:ext>
            </a:extLst>
          </p:cNvPr>
          <p:cNvSpPr txBox="1"/>
          <p:nvPr userDrawn="1"/>
        </p:nvSpPr>
        <p:spPr>
          <a:xfrm>
            <a:off x="10445303" y="6383710"/>
            <a:ext cx="174669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1" i="0">
                <a:solidFill>
                  <a:srgbClr val="666666"/>
                </a:solidFill>
                <a:latin typeface="Segoe Sans Display" pitchFamily="2" charset="0"/>
                <a:cs typeface="Segoe Sans Display" pitchFamily="2" charset="0"/>
              </a:rPr>
              <a:t>Microsoft Purview</a:t>
            </a:r>
          </a:p>
        </p:txBody>
      </p:sp>
    </p:spTree>
    <p:extLst>
      <p:ext uri="{BB962C8B-B14F-4D97-AF65-F5344CB8AC3E}">
        <p14:creationId xmlns:p14="http://schemas.microsoft.com/office/powerpoint/2010/main" val="21675676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15" r:id="rId1"/>
    <p:sldLayoutId id="2147484688" r:id="rId2"/>
    <p:sldLayoutId id="2147484701" r:id="rId3"/>
    <p:sldLayoutId id="2147484718" r:id="rId4"/>
    <p:sldLayoutId id="2147484756" r:id="rId5"/>
    <p:sldLayoutId id="2147484803" r:id="rId6"/>
    <p:sldLayoutId id="2147484804" r:id="rId7"/>
    <p:sldLayoutId id="2147484805" r:id="rId8"/>
    <p:sldLayoutId id="2147484806" r:id="rId9"/>
    <p:sldLayoutId id="2147484807" r:id="rId10"/>
    <p:sldLayoutId id="2147484808" r:id="rId11"/>
    <p:sldLayoutId id="2147484809" r:id="rId12"/>
    <p:sldLayoutId id="2147484810" r:id="rId13"/>
    <p:sldLayoutId id="2147484811" r:id="rId14"/>
    <p:sldLayoutId id="2147484812" r:id="rId15"/>
    <p:sldLayoutId id="2147484813" r:id="rId16"/>
    <p:sldLayoutId id="2147484814" r:id="rId17"/>
    <p:sldLayoutId id="2147484816" r:id="rId18"/>
    <p:sldLayoutId id="2147484817" r:id="rId19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0" i="0" kern="1200">
          <a:solidFill>
            <a:schemeClr val="tx1"/>
          </a:solidFill>
          <a:latin typeface="+mj-lt"/>
          <a:ea typeface="+mj-ea"/>
          <a:cs typeface="Segoe Sans Display" pitchFamily="2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600" b="0" i="0" kern="1200">
          <a:solidFill>
            <a:schemeClr val="accent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b="0" i="0" kern="1200">
          <a:solidFill>
            <a:schemeClr val="accent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b="0" i="0" kern="1200">
          <a:solidFill>
            <a:schemeClr val="accent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b="0" i="0" kern="1200">
          <a:solidFill>
            <a:schemeClr val="accent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b="0" i="0" kern="1200">
          <a:solidFill>
            <a:schemeClr val="accent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29">
          <p15:clr>
            <a:srgbClr val="F26B43"/>
          </p15:clr>
        </p15:guide>
        <p15:guide id="2" pos="366">
          <p15:clr>
            <a:srgbClr val="F26B43"/>
          </p15:clr>
        </p15:guide>
        <p15:guide id="4" pos="7314">
          <p15:clr>
            <a:srgbClr val="F26B43"/>
          </p15:clr>
        </p15:guide>
        <p15:guide id="5" orient="horz" pos="576">
          <p15:clr>
            <a:srgbClr val="F26B43"/>
          </p15:clr>
        </p15:guide>
        <p15:guide id="6" orient="horz" pos="760">
          <p15:clr>
            <a:srgbClr val="F26B43"/>
          </p15:clr>
        </p15:guide>
        <p15:guide id="7" orient="horz" pos="1070">
          <p15:clr>
            <a:srgbClr val="F26B43"/>
          </p15:clr>
        </p15:guide>
        <p15:guide id="8" orient="horz" pos="3973">
          <p15:clr>
            <a:srgbClr val="F26B43"/>
          </p15:clr>
        </p15:guide>
        <p15:guide id="9" pos="1968">
          <p15:clr>
            <a:srgbClr val="A4A3A4"/>
          </p15:clr>
        </p15:guide>
        <p15:guide id="10" pos="2148">
          <p15:clr>
            <a:srgbClr val="A4A3A4"/>
          </p15:clr>
        </p15:guide>
        <p15:guide id="11" pos="3750">
          <p15:clr>
            <a:srgbClr val="A4A3A4"/>
          </p15:clr>
        </p15:guide>
        <p15:guide id="12" pos="3930">
          <p15:clr>
            <a:srgbClr val="A4A3A4"/>
          </p15:clr>
        </p15:guide>
        <p15:guide id="13" pos="5532">
          <p15:clr>
            <a:srgbClr val="A4A3A4"/>
          </p15:clr>
        </p15:guide>
        <p15:guide id="14" pos="5712">
          <p15:clr>
            <a:srgbClr val="A4A3A4"/>
          </p15:clr>
        </p15:guide>
        <p15:guide id="15" pos="7496">
          <p15:clr>
            <a:srgbClr val="A4A3A4"/>
          </p15:clr>
        </p15:guide>
        <p15:guide id="16" pos="186">
          <p15:clr>
            <a:srgbClr val="A4A3A4"/>
          </p15:clr>
        </p15:guide>
        <p15:guide id="17" pos="780">
          <p15:clr>
            <a:srgbClr val="A4A3A4"/>
          </p15:clr>
        </p15:guide>
        <p15:guide id="18" pos="957">
          <p15:clr>
            <a:srgbClr val="A4A3A4"/>
          </p15:clr>
        </p15:guide>
        <p15:guide id="19" pos="1374">
          <p15:clr>
            <a:srgbClr val="A4A3A4"/>
          </p15:clr>
        </p15:guide>
        <p15:guide id="20" pos="1554">
          <p15:clr>
            <a:srgbClr val="A4A3A4"/>
          </p15:clr>
        </p15:guide>
        <p15:guide id="21" pos="2562">
          <p15:clr>
            <a:srgbClr val="A4A3A4"/>
          </p15:clr>
        </p15:guide>
        <p15:guide id="22" pos="2739">
          <p15:clr>
            <a:srgbClr val="A4A3A4"/>
          </p15:clr>
        </p15:guide>
        <p15:guide id="23" pos="3156">
          <p15:clr>
            <a:srgbClr val="A4A3A4"/>
          </p15:clr>
        </p15:guide>
        <p15:guide id="24" pos="3336">
          <p15:clr>
            <a:srgbClr val="A4A3A4"/>
          </p15:clr>
        </p15:guide>
        <p15:guide id="25" pos="4344">
          <p15:clr>
            <a:srgbClr val="A4A3A4"/>
          </p15:clr>
        </p15:guide>
        <p15:guide id="26" pos="4526">
          <p15:clr>
            <a:srgbClr val="A4A3A4"/>
          </p15:clr>
        </p15:guide>
        <p15:guide id="27" pos="4938">
          <p15:clr>
            <a:srgbClr val="A4A3A4"/>
          </p15:clr>
        </p15:guide>
        <p15:guide id="28" pos="5120">
          <p15:clr>
            <a:srgbClr val="A4A3A4"/>
          </p15:clr>
        </p15:guide>
        <p15:guide id="29" pos="6126">
          <p15:clr>
            <a:srgbClr val="A4A3A4"/>
          </p15:clr>
        </p15:guide>
        <p15:guide id="30" pos="6308">
          <p15:clr>
            <a:srgbClr val="A4A3A4"/>
          </p15:clr>
        </p15:guide>
        <p15:guide id="31" pos="6720">
          <p15:clr>
            <a:srgbClr val="A4A3A4"/>
          </p15:clr>
        </p15:guide>
        <p15:guide id="32" pos="6902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1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1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1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1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1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1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1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11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1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11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hyperlink" Target="https://learn.microsoft.com/en-us/purview/data-map-data-sources?source=recommendations" TargetMode="External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1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11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11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11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1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hyperlink" Target="https://learn.microsoft.com/en-us/purview/sensitivity-labels" TargetMode="External"/><Relationship Id="rId1" Type="http://schemas.openxmlformats.org/officeDocument/2006/relationships/slideLayout" Target="../slideLayouts/slideLayout11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1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11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1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11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11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11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11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11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11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11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1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1.xml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11.xml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11.xml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11.xml"/></Relationships>
</file>

<file path=ppt/slides/_rels/slide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11.xml"/></Relationships>
</file>

<file path=ppt/slides/_rels/slide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1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1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hyperlink" Target="https://learn.microsoft.com/en-us/purview/data-map-data-sources?source=recommendations" TargetMode="External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1.xml"/><Relationship Id="rId4" Type="http://schemas.openxmlformats.org/officeDocument/2006/relationships/hyperlink" Target="https://learn.microsoft.com/en-us/purview/data-map-data-sources?source=recommendations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Title 36">
            <a:extLst>
              <a:ext uri="{FF2B5EF4-FFF2-40B4-BE49-F238E27FC236}">
                <a16:creationId xmlns:a16="http://schemas.microsoft.com/office/drawing/2014/main" id="{40CB8A5C-7978-D6DF-6BCB-6AA6077897C3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6620523" y="1711795"/>
            <a:ext cx="4446587" cy="2032000"/>
          </a:xfrm>
        </p:spPr>
        <p:txBody>
          <a:bodyPr>
            <a:normAutofit fontScale="90000"/>
          </a:bodyPr>
          <a:lstStyle/>
          <a:p>
            <a:r>
              <a:rPr lang="en-GB" b="1" dirty="0"/>
              <a:t>Governance</a:t>
            </a:r>
            <a:r>
              <a:rPr lang="en-GB" dirty="0"/>
              <a:t> and Compliance with Microsoft Purview</a:t>
            </a:r>
            <a:br>
              <a:rPr lang="en-GB" dirty="0"/>
            </a:br>
            <a:br>
              <a:rPr lang="en-GB" dirty="0"/>
            </a:br>
            <a:r>
              <a:rPr lang="en-GB" dirty="0"/>
              <a:t>A getting started guide</a:t>
            </a:r>
            <a:endParaRPr lang="en-US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C0FE63F7-CA11-EE0D-34D2-1201EFE93977}"/>
              </a:ext>
            </a:extLst>
          </p:cNvPr>
          <p:cNvSpPr txBox="1"/>
          <p:nvPr/>
        </p:nvSpPr>
        <p:spPr>
          <a:xfrm>
            <a:off x="6510824" y="4254747"/>
            <a:ext cx="4169283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Jan Cordtz, Snr. Cloud Solution Architect</a:t>
            </a:r>
          </a:p>
          <a:p>
            <a:r>
              <a:rPr lang="en-US" dirty="0"/>
              <a:t>Microsoft Denmark</a:t>
            </a:r>
          </a:p>
          <a:p>
            <a:endParaRPr lang="en-DK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59F8D2DC-C8B4-6322-2C43-B0CC81930541}"/>
              </a:ext>
            </a:extLst>
          </p:cNvPr>
          <p:cNvSpPr txBox="1"/>
          <p:nvPr/>
        </p:nvSpPr>
        <p:spPr>
          <a:xfrm>
            <a:off x="622852" y="2913935"/>
            <a:ext cx="4018472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b="1" dirty="0">
                <a:solidFill>
                  <a:schemeClr val="bg1"/>
                </a:solidFill>
              </a:rPr>
              <a:t>If you think compliance is complicated,</a:t>
            </a:r>
            <a:br>
              <a:rPr lang="en-GB" b="1" dirty="0">
                <a:solidFill>
                  <a:schemeClr val="bg1"/>
                </a:solidFill>
              </a:rPr>
            </a:br>
            <a:r>
              <a:rPr lang="en-GB" b="1" dirty="0">
                <a:solidFill>
                  <a:schemeClr val="bg1"/>
                </a:solidFill>
              </a:rPr>
              <a:t>feel free to try incompliance!</a:t>
            </a:r>
            <a:endParaRPr lang="en-DK" b="1">
              <a:solidFill>
                <a:schemeClr val="bg1"/>
              </a:solidFill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F8F21A6C-97B1-2888-CE88-F83D203B392D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" r="-3390"/>
          <a:stretch/>
        </p:blipFill>
        <p:spPr>
          <a:xfrm>
            <a:off x="8595466" y="6211544"/>
            <a:ext cx="1566909" cy="544002"/>
          </a:xfrm>
          <a:prstGeom prst="rect">
            <a:avLst/>
          </a:prstGeom>
        </p:spPr>
      </p:pic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5215BF0C-A693-8110-B0D8-35654CBC84D2}"/>
              </a:ext>
            </a:extLst>
          </p:cNvPr>
          <p:cNvCxnSpPr/>
          <p:nvPr/>
        </p:nvCxnSpPr>
        <p:spPr>
          <a:xfrm>
            <a:off x="10299391" y="6292598"/>
            <a:ext cx="0" cy="452582"/>
          </a:xfrm>
          <a:prstGeom prst="line">
            <a:avLst/>
          </a:prstGeom>
          <a:ln w="12700">
            <a:solidFill>
              <a:srgbClr val="6666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CAE45D75-77AE-3079-FFC7-8EBA288E263F}"/>
              </a:ext>
            </a:extLst>
          </p:cNvPr>
          <p:cNvSpPr txBox="1"/>
          <p:nvPr/>
        </p:nvSpPr>
        <p:spPr>
          <a:xfrm>
            <a:off x="531412" y="5872558"/>
            <a:ext cx="6193811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Note – in this document the name </a:t>
            </a:r>
            <a:r>
              <a:rPr lang="en-US" b="1" dirty="0"/>
              <a:t>Purview</a:t>
            </a:r>
            <a:r>
              <a:rPr lang="en-US" dirty="0"/>
              <a:t> – if not otherwise</a:t>
            </a:r>
          </a:p>
          <a:p>
            <a:r>
              <a:rPr lang="en-US" dirty="0"/>
              <a:t>stated - is used for the Data Governance part of Purview.</a:t>
            </a:r>
          </a:p>
        </p:txBody>
      </p:sp>
    </p:spTree>
    <p:extLst>
      <p:ext uri="{BB962C8B-B14F-4D97-AF65-F5344CB8AC3E}">
        <p14:creationId xmlns:p14="http://schemas.microsoft.com/office/powerpoint/2010/main" val="388661928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3CEC991-19FA-A729-46C0-BCCACED3AE3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645CDEC2-F20B-8F59-A518-4BCC773549C9}"/>
              </a:ext>
            </a:extLst>
          </p:cNvPr>
          <p:cNvSpPr txBox="1"/>
          <p:nvPr/>
        </p:nvSpPr>
        <p:spPr>
          <a:xfrm>
            <a:off x="6423949" y="2569579"/>
            <a:ext cx="4822474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000" dirty="0">
                <a:latin typeface="Segoe UI" panose="020B0502040204020203" pitchFamily="34" charset="0"/>
                <a:cs typeface="Segoe UI" panose="020B0502040204020203" pitchFamily="34" charset="0"/>
              </a:rPr>
              <a:t>The “first” data asset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A20A0AB-27E2-1FF2-84A3-BED88FFACB35}"/>
              </a:ext>
            </a:extLst>
          </p:cNvPr>
          <p:cNvSpPr txBox="1"/>
          <p:nvPr/>
        </p:nvSpPr>
        <p:spPr>
          <a:xfrm>
            <a:off x="106100" y="6331848"/>
            <a:ext cx="141018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chemeClr val="accent1">
                    <a:lumMod val="50000"/>
                  </a:schemeClr>
                </a:solidFill>
              </a:rPr>
              <a:t>Data Map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839979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69DF7E2-9EC4-B171-35A4-5DC45C855B6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078F94DB-0D17-8979-3D3A-0F7BE5D00AC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1884" y="1550637"/>
            <a:ext cx="7772400" cy="4260223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ABAD9441-3D41-8DFD-CBBF-355590D2FE1C}"/>
              </a:ext>
            </a:extLst>
          </p:cNvPr>
          <p:cNvSpPr txBox="1"/>
          <p:nvPr/>
        </p:nvSpPr>
        <p:spPr>
          <a:xfrm>
            <a:off x="601884" y="578734"/>
            <a:ext cx="350198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he “first” </a:t>
            </a:r>
            <a:r>
              <a:rPr lang="en-US" b="1" dirty="0">
                <a:solidFill>
                  <a:schemeClr val="accent1">
                    <a:lumMod val="50000"/>
                  </a:schemeClr>
                </a:solidFill>
              </a:rPr>
              <a:t>data asset </a:t>
            </a:r>
            <a:r>
              <a:rPr lang="en-US" dirty="0"/>
              <a:t>after a </a:t>
            </a:r>
            <a:r>
              <a:rPr lang="en-US" b="1" dirty="0">
                <a:solidFill>
                  <a:schemeClr val="accent1">
                    <a:lumMod val="50000"/>
                  </a:schemeClr>
                </a:solidFill>
              </a:rPr>
              <a:t>scan</a:t>
            </a:r>
            <a:endParaRPr lang="en-US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631CD0AC-EFA0-3D78-7B95-530C1CA199CF}"/>
              </a:ext>
            </a:extLst>
          </p:cNvPr>
          <p:cNvSpPr txBox="1"/>
          <p:nvPr/>
        </p:nvSpPr>
        <p:spPr>
          <a:xfrm>
            <a:off x="8082684" y="1397675"/>
            <a:ext cx="4109316" cy="2031325"/>
          </a:xfrm>
          <a:prstGeom prst="rect">
            <a:avLst/>
          </a:prstGeom>
          <a:solidFill>
            <a:srgbClr val="FFFDF9">
              <a:alpha val="75000"/>
            </a:srgbClr>
          </a:solidFill>
        </p:spPr>
        <p:txBody>
          <a:bodyPr wrap="square" rtlCol="0">
            <a:spAutoFit/>
          </a:bodyPr>
          <a:lstStyle/>
          <a:p>
            <a:r>
              <a:rPr lang="en-US" dirty="0"/>
              <a:t>The </a:t>
            </a:r>
            <a:r>
              <a:rPr lang="en-US" b="1" dirty="0">
                <a:solidFill>
                  <a:schemeClr val="accent1">
                    <a:lumMod val="50000"/>
                  </a:schemeClr>
                </a:solidFill>
              </a:rPr>
              <a:t>overview</a:t>
            </a:r>
            <a:r>
              <a:rPr lang="en-US" dirty="0"/>
              <a:t> tab displays the overall</a:t>
            </a:r>
            <a:br>
              <a:rPr lang="en-US" dirty="0"/>
            </a:br>
            <a:r>
              <a:rPr lang="en-US" dirty="0"/>
              <a:t>information about the assets like description, classifications, collection path and hierarchy.</a:t>
            </a:r>
          </a:p>
          <a:p>
            <a:endParaRPr lang="en-US" dirty="0"/>
          </a:p>
          <a:p>
            <a:r>
              <a:rPr lang="en-US" dirty="0"/>
              <a:t>The information is only present if it is found in the source.</a:t>
            </a:r>
          </a:p>
        </p:txBody>
      </p:sp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2745DC1E-822E-607B-00EB-CF4421105CEF}"/>
              </a:ext>
            </a:extLst>
          </p:cNvPr>
          <p:cNvCxnSpPr>
            <a:cxnSpLocks/>
          </p:cNvCxnSpPr>
          <p:nvPr/>
        </p:nvCxnSpPr>
        <p:spPr>
          <a:xfrm flipH="1">
            <a:off x="1388962" y="1397675"/>
            <a:ext cx="486972" cy="1114031"/>
          </a:xfrm>
          <a:prstGeom prst="straightConnector1">
            <a:avLst/>
          </a:prstGeom>
          <a:ln w="25400">
            <a:solidFill>
              <a:srgbClr val="FF0000">
                <a:alpha val="50000"/>
              </a:srgb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B88F4DBC-50EF-18C6-9846-5F05073314C9}"/>
              </a:ext>
            </a:extLst>
          </p:cNvPr>
          <p:cNvCxnSpPr>
            <a:cxnSpLocks/>
          </p:cNvCxnSpPr>
          <p:nvPr/>
        </p:nvCxnSpPr>
        <p:spPr>
          <a:xfrm>
            <a:off x="11194648" y="4256588"/>
            <a:ext cx="0" cy="0"/>
          </a:xfrm>
          <a:prstGeom prst="line">
            <a:avLst/>
          </a:prstGeom>
          <a:ln w="25400">
            <a:solidFill>
              <a:srgbClr val="FF0000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5113AFEB-8F37-554B-A180-6048EECCFFE9}"/>
              </a:ext>
            </a:extLst>
          </p:cNvPr>
          <p:cNvSpPr txBox="1"/>
          <p:nvPr/>
        </p:nvSpPr>
        <p:spPr>
          <a:xfrm>
            <a:off x="106100" y="6331848"/>
            <a:ext cx="141018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chemeClr val="accent1">
                    <a:lumMod val="50000"/>
                  </a:schemeClr>
                </a:solidFill>
              </a:rPr>
              <a:t>Data Map</a:t>
            </a:r>
            <a:endParaRPr lang="en-US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902BB197-89D4-CF86-5A75-C4A8804654AF}"/>
              </a:ext>
            </a:extLst>
          </p:cNvPr>
          <p:cNvSpPr txBox="1"/>
          <p:nvPr/>
        </p:nvSpPr>
        <p:spPr>
          <a:xfrm>
            <a:off x="601884" y="1047140"/>
            <a:ext cx="666349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Query your </a:t>
            </a:r>
            <a:r>
              <a:rPr lang="en-US" b="1" u="sng" dirty="0">
                <a:solidFill>
                  <a:schemeClr val="accent1">
                    <a:lumMod val="50000"/>
                  </a:schemeClr>
                </a:solidFill>
              </a:rPr>
              <a:t>data assets</a:t>
            </a:r>
            <a:r>
              <a:rPr lang="en-US" u="sng" dirty="0"/>
              <a:t> </a:t>
            </a:r>
            <a:r>
              <a:rPr lang="en-US" dirty="0"/>
              <a:t>– notice this is found in the </a:t>
            </a:r>
            <a:r>
              <a:rPr lang="en-US" b="1" dirty="0">
                <a:solidFill>
                  <a:schemeClr val="accent1">
                    <a:lumMod val="50000"/>
                  </a:schemeClr>
                </a:solidFill>
              </a:rPr>
              <a:t>unified catalog</a:t>
            </a:r>
          </a:p>
        </p:txBody>
      </p: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F5473789-A625-6BA0-4EC6-D650272357C4}"/>
              </a:ext>
            </a:extLst>
          </p:cNvPr>
          <p:cNvCxnSpPr>
            <a:cxnSpLocks/>
            <a:stCxn id="4" idx="1"/>
          </p:cNvCxnSpPr>
          <p:nvPr/>
        </p:nvCxnSpPr>
        <p:spPr>
          <a:xfrm flipH="1">
            <a:off x="2581154" y="2413338"/>
            <a:ext cx="5501530" cy="232533"/>
          </a:xfrm>
          <a:prstGeom prst="straightConnector1">
            <a:avLst/>
          </a:prstGeom>
          <a:ln w="25400">
            <a:solidFill>
              <a:srgbClr val="FF0000">
                <a:alpha val="50000"/>
              </a:srgb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5058188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4983157-6077-011B-D584-60D465C40D0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CBBBA298-DEC3-8A81-11EF-435D93C6201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0284" y="1649533"/>
            <a:ext cx="7772400" cy="4629733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4E47BBE2-AD73-B761-10E4-C0F5ADFDB8A5}"/>
              </a:ext>
            </a:extLst>
          </p:cNvPr>
          <p:cNvSpPr txBox="1"/>
          <p:nvPr/>
        </p:nvSpPr>
        <p:spPr>
          <a:xfrm>
            <a:off x="601884" y="578734"/>
            <a:ext cx="333687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he first </a:t>
            </a:r>
            <a:r>
              <a:rPr lang="en-US" b="1" dirty="0">
                <a:solidFill>
                  <a:schemeClr val="accent1">
                    <a:lumMod val="50000"/>
                  </a:schemeClr>
                </a:solidFill>
              </a:rPr>
              <a:t>data assets </a:t>
            </a:r>
            <a:r>
              <a:rPr lang="en-US" dirty="0"/>
              <a:t>after a </a:t>
            </a:r>
            <a:r>
              <a:rPr lang="en-US" b="1" dirty="0">
                <a:solidFill>
                  <a:schemeClr val="accent1">
                    <a:lumMod val="50000"/>
                  </a:schemeClr>
                </a:solidFill>
              </a:rPr>
              <a:t>scan</a:t>
            </a:r>
            <a:endParaRPr lang="en-US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DBE6989-D47F-729B-41E7-018A8F50D0DA}"/>
              </a:ext>
            </a:extLst>
          </p:cNvPr>
          <p:cNvSpPr txBox="1"/>
          <p:nvPr/>
        </p:nvSpPr>
        <p:spPr>
          <a:xfrm>
            <a:off x="8082684" y="1397675"/>
            <a:ext cx="4109316" cy="1754326"/>
          </a:xfrm>
          <a:prstGeom prst="rect">
            <a:avLst/>
          </a:prstGeom>
          <a:solidFill>
            <a:srgbClr val="FFFDF9">
              <a:alpha val="75000"/>
            </a:srgbClr>
          </a:solidFill>
        </p:spPr>
        <p:txBody>
          <a:bodyPr wrap="square" rtlCol="0">
            <a:spAutoFit/>
          </a:bodyPr>
          <a:lstStyle/>
          <a:p>
            <a:r>
              <a:rPr lang="en-US" dirty="0"/>
              <a:t>The </a:t>
            </a:r>
            <a:r>
              <a:rPr lang="en-US" b="1" dirty="0">
                <a:solidFill>
                  <a:schemeClr val="accent1">
                    <a:lumMod val="50000"/>
                  </a:schemeClr>
                </a:solidFill>
              </a:rPr>
              <a:t>properties</a:t>
            </a:r>
            <a:r>
              <a:rPr lang="en-US" dirty="0"/>
              <a:t> tab displays the more technical information for a given asset. This varies depending on asset type.</a:t>
            </a:r>
            <a:br>
              <a:rPr lang="en-US" dirty="0"/>
            </a:br>
            <a:endParaRPr lang="en-US" dirty="0"/>
          </a:p>
          <a:p>
            <a:r>
              <a:rPr lang="en-US" dirty="0"/>
              <a:t>The information is only present if it is found in the source.</a:t>
            </a:r>
          </a:p>
        </p:txBody>
      </p: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034C4C15-0A42-F920-E904-07A652BC7F3F}"/>
              </a:ext>
            </a:extLst>
          </p:cNvPr>
          <p:cNvCxnSpPr>
            <a:cxnSpLocks/>
          </p:cNvCxnSpPr>
          <p:nvPr/>
        </p:nvCxnSpPr>
        <p:spPr>
          <a:xfrm>
            <a:off x="11194648" y="4256588"/>
            <a:ext cx="0" cy="0"/>
          </a:xfrm>
          <a:prstGeom prst="line">
            <a:avLst/>
          </a:prstGeom>
          <a:ln w="25400">
            <a:solidFill>
              <a:srgbClr val="FF0000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7CAEB94D-F801-E8D6-ABB5-AB52ACDFDD68}"/>
              </a:ext>
            </a:extLst>
          </p:cNvPr>
          <p:cNvSpPr txBox="1"/>
          <p:nvPr/>
        </p:nvSpPr>
        <p:spPr>
          <a:xfrm>
            <a:off x="106100" y="6331848"/>
            <a:ext cx="141018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chemeClr val="accent1">
                    <a:lumMod val="50000"/>
                  </a:schemeClr>
                </a:solidFill>
              </a:rPr>
              <a:t>Data Map</a:t>
            </a:r>
            <a:endParaRPr lang="en-US" dirty="0"/>
          </a:p>
        </p:txBody>
      </p: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7BC48756-37B8-FC1B-D0B2-71C1CBDDA38E}"/>
              </a:ext>
            </a:extLst>
          </p:cNvPr>
          <p:cNvCxnSpPr>
            <a:cxnSpLocks/>
            <a:stCxn id="4" idx="1"/>
          </p:cNvCxnSpPr>
          <p:nvPr/>
        </p:nvCxnSpPr>
        <p:spPr>
          <a:xfrm flipH="1">
            <a:off x="2131671" y="2274838"/>
            <a:ext cx="5951013" cy="792453"/>
          </a:xfrm>
          <a:prstGeom prst="straightConnector1">
            <a:avLst/>
          </a:prstGeom>
          <a:ln w="25400">
            <a:solidFill>
              <a:srgbClr val="FF0000">
                <a:alpha val="50000"/>
              </a:srgb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3769132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E1907B0-4E91-9B0E-8D53-75C802D866B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7A565EB8-014D-4E0C-3054-1B624D603C9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0284" y="1621009"/>
            <a:ext cx="7772400" cy="4629733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E6E309A1-45E6-9807-42D2-664357711009}"/>
              </a:ext>
            </a:extLst>
          </p:cNvPr>
          <p:cNvSpPr txBox="1"/>
          <p:nvPr/>
        </p:nvSpPr>
        <p:spPr>
          <a:xfrm>
            <a:off x="601884" y="578734"/>
            <a:ext cx="333687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he first </a:t>
            </a:r>
            <a:r>
              <a:rPr lang="en-US" b="1" dirty="0">
                <a:solidFill>
                  <a:schemeClr val="accent1">
                    <a:lumMod val="50000"/>
                  </a:schemeClr>
                </a:solidFill>
              </a:rPr>
              <a:t>data assets </a:t>
            </a:r>
            <a:r>
              <a:rPr lang="en-US" dirty="0"/>
              <a:t>after a </a:t>
            </a:r>
            <a:r>
              <a:rPr lang="en-US" b="1" dirty="0">
                <a:solidFill>
                  <a:schemeClr val="accent1">
                    <a:lumMod val="50000"/>
                  </a:schemeClr>
                </a:solidFill>
              </a:rPr>
              <a:t>scan</a:t>
            </a:r>
            <a:endParaRPr lang="en-US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C61062E-2C34-5E8B-F2A5-37A0F684773E}"/>
              </a:ext>
            </a:extLst>
          </p:cNvPr>
          <p:cNvSpPr txBox="1"/>
          <p:nvPr/>
        </p:nvSpPr>
        <p:spPr>
          <a:xfrm>
            <a:off x="8082684" y="1397675"/>
            <a:ext cx="4109316" cy="1754326"/>
          </a:xfrm>
          <a:prstGeom prst="rect">
            <a:avLst/>
          </a:prstGeom>
          <a:solidFill>
            <a:srgbClr val="FFFDF9">
              <a:alpha val="75000"/>
            </a:srgbClr>
          </a:solidFill>
        </p:spPr>
        <p:txBody>
          <a:bodyPr wrap="square" rtlCol="0">
            <a:spAutoFit/>
          </a:bodyPr>
          <a:lstStyle/>
          <a:p>
            <a:r>
              <a:rPr lang="en-US" dirty="0"/>
              <a:t>The </a:t>
            </a:r>
            <a:r>
              <a:rPr lang="en-US" b="1" dirty="0">
                <a:solidFill>
                  <a:schemeClr val="accent1">
                    <a:lumMod val="50000"/>
                  </a:schemeClr>
                </a:solidFill>
              </a:rPr>
              <a:t>schema</a:t>
            </a:r>
            <a:r>
              <a:rPr lang="en-US" dirty="0"/>
              <a:t> tab displays any schema found with the asset. This varies depending on asset type.</a:t>
            </a:r>
            <a:br>
              <a:rPr lang="en-US" dirty="0"/>
            </a:br>
            <a:endParaRPr lang="en-US" dirty="0"/>
          </a:p>
          <a:p>
            <a:r>
              <a:rPr lang="en-US" dirty="0"/>
              <a:t>The information is only present if it is found in the source,</a:t>
            </a:r>
          </a:p>
        </p:txBody>
      </p: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2DC3F8B9-295F-5361-2954-0D744570FF83}"/>
              </a:ext>
            </a:extLst>
          </p:cNvPr>
          <p:cNvCxnSpPr>
            <a:cxnSpLocks/>
          </p:cNvCxnSpPr>
          <p:nvPr/>
        </p:nvCxnSpPr>
        <p:spPr>
          <a:xfrm>
            <a:off x="11194648" y="4256588"/>
            <a:ext cx="0" cy="0"/>
          </a:xfrm>
          <a:prstGeom prst="line">
            <a:avLst/>
          </a:prstGeom>
          <a:ln w="25400">
            <a:solidFill>
              <a:srgbClr val="FF0000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553912EC-D9F3-1CE7-CD7D-ED64E1DC8709}"/>
              </a:ext>
            </a:extLst>
          </p:cNvPr>
          <p:cNvSpPr txBox="1"/>
          <p:nvPr/>
        </p:nvSpPr>
        <p:spPr>
          <a:xfrm>
            <a:off x="106100" y="6331848"/>
            <a:ext cx="141018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chemeClr val="accent1">
                    <a:lumMod val="50000"/>
                  </a:schemeClr>
                </a:solidFill>
              </a:rPr>
              <a:t>Data Map</a:t>
            </a:r>
            <a:endParaRPr lang="en-US" dirty="0"/>
          </a:p>
        </p:txBody>
      </p: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96489F9C-6AF1-6007-E898-2F53CE34541A}"/>
              </a:ext>
            </a:extLst>
          </p:cNvPr>
          <p:cNvCxnSpPr>
            <a:cxnSpLocks/>
          </p:cNvCxnSpPr>
          <p:nvPr/>
        </p:nvCxnSpPr>
        <p:spPr>
          <a:xfrm flipH="1">
            <a:off x="2071868" y="2101210"/>
            <a:ext cx="6010816" cy="1151276"/>
          </a:xfrm>
          <a:prstGeom prst="straightConnector1">
            <a:avLst/>
          </a:prstGeom>
          <a:ln w="25400">
            <a:solidFill>
              <a:srgbClr val="FF0000">
                <a:alpha val="50000"/>
              </a:srgb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7486274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69B03C7-3973-402E-F717-658E2CD2702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768D4F36-4AF1-340E-BC80-72BE753C79F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0284" y="1789318"/>
            <a:ext cx="7772400" cy="4321084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787F4DD0-9299-DE56-B41C-52C704EC13CC}"/>
              </a:ext>
            </a:extLst>
          </p:cNvPr>
          <p:cNvSpPr txBox="1"/>
          <p:nvPr/>
        </p:nvSpPr>
        <p:spPr>
          <a:xfrm>
            <a:off x="601884" y="578734"/>
            <a:ext cx="333687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he first </a:t>
            </a:r>
            <a:r>
              <a:rPr lang="en-US" b="1" dirty="0">
                <a:solidFill>
                  <a:schemeClr val="accent1">
                    <a:lumMod val="50000"/>
                  </a:schemeClr>
                </a:solidFill>
              </a:rPr>
              <a:t>data assets </a:t>
            </a:r>
            <a:r>
              <a:rPr lang="en-US" dirty="0"/>
              <a:t>after a </a:t>
            </a:r>
            <a:r>
              <a:rPr lang="en-US" b="1" dirty="0">
                <a:solidFill>
                  <a:schemeClr val="accent1">
                    <a:lumMod val="50000"/>
                  </a:schemeClr>
                </a:solidFill>
              </a:rPr>
              <a:t>scan</a:t>
            </a:r>
            <a:endParaRPr lang="en-US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9C4886EE-3124-F3A2-3896-842B7C76F79F}"/>
              </a:ext>
            </a:extLst>
          </p:cNvPr>
          <p:cNvSpPr txBox="1"/>
          <p:nvPr/>
        </p:nvSpPr>
        <p:spPr>
          <a:xfrm>
            <a:off x="8082684" y="1397675"/>
            <a:ext cx="4109316" cy="2585323"/>
          </a:xfrm>
          <a:prstGeom prst="rect">
            <a:avLst/>
          </a:prstGeom>
          <a:solidFill>
            <a:srgbClr val="FFFDF9">
              <a:alpha val="75000"/>
            </a:srgbClr>
          </a:solidFill>
        </p:spPr>
        <p:txBody>
          <a:bodyPr wrap="square" rtlCol="0">
            <a:spAutoFit/>
          </a:bodyPr>
          <a:lstStyle/>
          <a:p>
            <a:r>
              <a:rPr lang="en-US" dirty="0"/>
              <a:t>The </a:t>
            </a:r>
            <a:r>
              <a:rPr lang="en-US" b="1" dirty="0">
                <a:solidFill>
                  <a:schemeClr val="accent1">
                    <a:lumMod val="50000"/>
                  </a:schemeClr>
                </a:solidFill>
              </a:rPr>
              <a:t>lineage</a:t>
            </a:r>
            <a:r>
              <a:rPr lang="en-US" dirty="0"/>
              <a:t> tab displays any connections found with the asset. </a:t>
            </a:r>
          </a:p>
          <a:p>
            <a:r>
              <a:rPr lang="en-US" dirty="0"/>
              <a:t>This varies depending on asset type.</a:t>
            </a:r>
            <a:br>
              <a:rPr lang="en-US" dirty="0"/>
            </a:br>
            <a:endParaRPr lang="en-US" dirty="0"/>
          </a:p>
          <a:p>
            <a:r>
              <a:rPr lang="en-US" dirty="0"/>
              <a:t>The information is only present if it is found in the source like views and stored procedures. If it is from a stored procedure this must have been executed.</a:t>
            </a:r>
          </a:p>
        </p:txBody>
      </p: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71C77B7C-23B2-F9C7-3B0D-6B921E4B5236}"/>
              </a:ext>
            </a:extLst>
          </p:cNvPr>
          <p:cNvCxnSpPr>
            <a:cxnSpLocks/>
          </p:cNvCxnSpPr>
          <p:nvPr/>
        </p:nvCxnSpPr>
        <p:spPr>
          <a:xfrm>
            <a:off x="11194648" y="4256588"/>
            <a:ext cx="0" cy="0"/>
          </a:xfrm>
          <a:prstGeom prst="line">
            <a:avLst/>
          </a:prstGeom>
          <a:ln w="25400">
            <a:solidFill>
              <a:srgbClr val="FF0000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B5241EC1-DC54-A44D-E09E-A2DA25728B6E}"/>
              </a:ext>
            </a:extLst>
          </p:cNvPr>
          <p:cNvSpPr txBox="1"/>
          <p:nvPr/>
        </p:nvSpPr>
        <p:spPr>
          <a:xfrm>
            <a:off x="106100" y="6331848"/>
            <a:ext cx="141018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chemeClr val="accent1">
                    <a:lumMod val="50000"/>
                  </a:schemeClr>
                </a:solidFill>
              </a:rPr>
              <a:t>Data Map</a:t>
            </a:r>
            <a:endParaRPr lang="en-US" dirty="0"/>
          </a:p>
        </p:txBody>
      </p: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8C89163F-BF9E-6A46-80DB-D9E89BAF6395}"/>
              </a:ext>
            </a:extLst>
          </p:cNvPr>
          <p:cNvCxnSpPr>
            <a:cxnSpLocks/>
          </p:cNvCxnSpPr>
          <p:nvPr/>
        </p:nvCxnSpPr>
        <p:spPr>
          <a:xfrm flipH="1">
            <a:off x="1805651" y="2101210"/>
            <a:ext cx="6277033" cy="1327790"/>
          </a:xfrm>
          <a:prstGeom prst="straightConnector1">
            <a:avLst/>
          </a:prstGeom>
          <a:ln w="25400">
            <a:solidFill>
              <a:srgbClr val="FF0000">
                <a:alpha val="50000"/>
              </a:srgb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6365392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DCBBE1D-9EF6-AA3C-EE5F-75C5065672C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3E594532-AD47-E1A2-9530-950526D002F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3117" y="1731445"/>
            <a:ext cx="7772400" cy="4321084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DFBC7F63-3E16-CE5D-78B4-03A11783EDE8}"/>
              </a:ext>
            </a:extLst>
          </p:cNvPr>
          <p:cNvSpPr txBox="1"/>
          <p:nvPr/>
        </p:nvSpPr>
        <p:spPr>
          <a:xfrm>
            <a:off x="601884" y="578734"/>
            <a:ext cx="333687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he first </a:t>
            </a:r>
            <a:r>
              <a:rPr lang="en-US" b="1" dirty="0">
                <a:solidFill>
                  <a:schemeClr val="accent1">
                    <a:lumMod val="50000"/>
                  </a:schemeClr>
                </a:solidFill>
              </a:rPr>
              <a:t>data assets </a:t>
            </a:r>
            <a:r>
              <a:rPr lang="en-US" dirty="0"/>
              <a:t>after a </a:t>
            </a:r>
            <a:r>
              <a:rPr lang="en-US" b="1" dirty="0">
                <a:solidFill>
                  <a:schemeClr val="accent1">
                    <a:lumMod val="50000"/>
                  </a:schemeClr>
                </a:solidFill>
              </a:rPr>
              <a:t>scan</a:t>
            </a:r>
            <a:endParaRPr lang="en-US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0A9D13C2-6084-D903-3CAE-36359AAE6162}"/>
              </a:ext>
            </a:extLst>
          </p:cNvPr>
          <p:cNvSpPr txBox="1"/>
          <p:nvPr/>
        </p:nvSpPr>
        <p:spPr>
          <a:xfrm>
            <a:off x="8082684" y="1397675"/>
            <a:ext cx="4109316" cy="646331"/>
          </a:xfrm>
          <a:prstGeom prst="rect">
            <a:avLst/>
          </a:prstGeom>
          <a:solidFill>
            <a:srgbClr val="FFFDF9">
              <a:alpha val="75000"/>
            </a:srgbClr>
          </a:solidFill>
        </p:spPr>
        <p:txBody>
          <a:bodyPr wrap="square" rtlCol="0">
            <a:spAutoFit/>
          </a:bodyPr>
          <a:lstStyle/>
          <a:p>
            <a:r>
              <a:rPr lang="en-US" dirty="0"/>
              <a:t>The </a:t>
            </a:r>
            <a:r>
              <a:rPr lang="en-US" b="1" dirty="0">
                <a:solidFill>
                  <a:schemeClr val="accent1">
                    <a:lumMod val="50000"/>
                  </a:schemeClr>
                </a:solidFill>
              </a:rPr>
              <a:t>contacts</a:t>
            </a:r>
            <a:r>
              <a:rPr lang="en-US" dirty="0"/>
              <a:t> tab will be empty for any new asset.</a:t>
            </a:r>
          </a:p>
        </p:txBody>
      </p: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0DDD50CE-959A-FD6C-5CFE-22036E89B3FB}"/>
              </a:ext>
            </a:extLst>
          </p:cNvPr>
          <p:cNvCxnSpPr>
            <a:cxnSpLocks/>
          </p:cNvCxnSpPr>
          <p:nvPr/>
        </p:nvCxnSpPr>
        <p:spPr>
          <a:xfrm>
            <a:off x="11194648" y="4256588"/>
            <a:ext cx="0" cy="0"/>
          </a:xfrm>
          <a:prstGeom prst="line">
            <a:avLst/>
          </a:prstGeom>
          <a:ln w="25400">
            <a:solidFill>
              <a:srgbClr val="FF0000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BE469DCA-58C4-0CC1-C211-42F7E999D556}"/>
              </a:ext>
            </a:extLst>
          </p:cNvPr>
          <p:cNvSpPr txBox="1"/>
          <p:nvPr/>
        </p:nvSpPr>
        <p:spPr>
          <a:xfrm>
            <a:off x="106100" y="6331848"/>
            <a:ext cx="141018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chemeClr val="accent1">
                    <a:lumMod val="50000"/>
                  </a:schemeClr>
                </a:solidFill>
              </a:rPr>
              <a:t>Data Map</a:t>
            </a:r>
            <a:endParaRPr lang="en-US" dirty="0"/>
          </a:p>
        </p:txBody>
      </p: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B3BC76F1-DEDA-6F3A-AB0D-A8F24E85C64A}"/>
              </a:ext>
            </a:extLst>
          </p:cNvPr>
          <p:cNvCxnSpPr>
            <a:cxnSpLocks/>
          </p:cNvCxnSpPr>
          <p:nvPr/>
        </p:nvCxnSpPr>
        <p:spPr>
          <a:xfrm flipH="1">
            <a:off x="1805651" y="2101210"/>
            <a:ext cx="6277033" cy="1475367"/>
          </a:xfrm>
          <a:prstGeom prst="straightConnector1">
            <a:avLst/>
          </a:prstGeom>
          <a:ln w="25400">
            <a:solidFill>
              <a:srgbClr val="FF0000">
                <a:alpha val="50000"/>
              </a:srgb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1050471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C65181A-9CAA-C082-EF39-22F90DB35EF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92C90199-FE3A-8DAA-E9A6-54C6797D0FC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0284" y="1580974"/>
            <a:ext cx="7772400" cy="4321084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1E58DB6C-6405-257D-EED1-70C876EDAD18}"/>
              </a:ext>
            </a:extLst>
          </p:cNvPr>
          <p:cNvSpPr txBox="1"/>
          <p:nvPr/>
        </p:nvSpPr>
        <p:spPr>
          <a:xfrm>
            <a:off x="601884" y="578734"/>
            <a:ext cx="333687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he first </a:t>
            </a:r>
            <a:r>
              <a:rPr lang="en-US" b="1" dirty="0">
                <a:solidFill>
                  <a:schemeClr val="accent1">
                    <a:lumMod val="50000"/>
                  </a:schemeClr>
                </a:solidFill>
              </a:rPr>
              <a:t>data assets </a:t>
            </a:r>
            <a:r>
              <a:rPr lang="en-US" dirty="0"/>
              <a:t>after a </a:t>
            </a:r>
            <a:r>
              <a:rPr lang="en-US" b="1" dirty="0">
                <a:solidFill>
                  <a:schemeClr val="accent1">
                    <a:lumMod val="50000"/>
                  </a:schemeClr>
                </a:solidFill>
              </a:rPr>
              <a:t>scan</a:t>
            </a:r>
            <a:endParaRPr lang="en-US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D2DBD4F-5C0D-F241-735E-3BF4455627A9}"/>
              </a:ext>
            </a:extLst>
          </p:cNvPr>
          <p:cNvSpPr txBox="1"/>
          <p:nvPr/>
        </p:nvSpPr>
        <p:spPr>
          <a:xfrm>
            <a:off x="8082684" y="1397675"/>
            <a:ext cx="4109316" cy="923330"/>
          </a:xfrm>
          <a:prstGeom prst="rect">
            <a:avLst/>
          </a:prstGeom>
          <a:solidFill>
            <a:srgbClr val="FFFDF9">
              <a:alpha val="75000"/>
            </a:srgbClr>
          </a:solidFill>
        </p:spPr>
        <p:txBody>
          <a:bodyPr wrap="square" rtlCol="0">
            <a:spAutoFit/>
          </a:bodyPr>
          <a:lstStyle/>
          <a:p>
            <a:r>
              <a:rPr lang="en-US" dirty="0"/>
              <a:t>The </a:t>
            </a:r>
            <a:r>
              <a:rPr lang="en-US" b="1" dirty="0">
                <a:solidFill>
                  <a:schemeClr val="accent1">
                    <a:lumMod val="50000"/>
                  </a:schemeClr>
                </a:solidFill>
              </a:rPr>
              <a:t>Related</a:t>
            </a:r>
            <a:r>
              <a:rPr lang="en-US" dirty="0"/>
              <a:t> tab will show any other assets that is present in the same source as the asset being watched.</a:t>
            </a:r>
          </a:p>
        </p:txBody>
      </p: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CF14AA5E-1AC1-18EA-C724-028B5A980A46}"/>
              </a:ext>
            </a:extLst>
          </p:cNvPr>
          <p:cNvCxnSpPr>
            <a:cxnSpLocks/>
          </p:cNvCxnSpPr>
          <p:nvPr/>
        </p:nvCxnSpPr>
        <p:spPr>
          <a:xfrm>
            <a:off x="11194648" y="4256588"/>
            <a:ext cx="0" cy="0"/>
          </a:xfrm>
          <a:prstGeom prst="line">
            <a:avLst/>
          </a:prstGeom>
          <a:ln w="25400">
            <a:solidFill>
              <a:srgbClr val="FF0000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54B57E9B-67CD-BF8C-9985-5E01F60750AF}"/>
              </a:ext>
            </a:extLst>
          </p:cNvPr>
          <p:cNvSpPr txBox="1"/>
          <p:nvPr/>
        </p:nvSpPr>
        <p:spPr>
          <a:xfrm>
            <a:off x="106100" y="6331848"/>
            <a:ext cx="141018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chemeClr val="accent1">
                    <a:lumMod val="50000"/>
                  </a:schemeClr>
                </a:solidFill>
              </a:rPr>
              <a:t>Data Map</a:t>
            </a:r>
            <a:endParaRPr lang="en-US" dirty="0"/>
          </a:p>
        </p:txBody>
      </p: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7E10E420-BD71-C769-BB10-49A1C8B63FC9}"/>
              </a:ext>
            </a:extLst>
          </p:cNvPr>
          <p:cNvCxnSpPr>
            <a:cxnSpLocks/>
            <a:stCxn id="4" idx="1"/>
          </p:cNvCxnSpPr>
          <p:nvPr/>
        </p:nvCxnSpPr>
        <p:spPr>
          <a:xfrm flipH="1">
            <a:off x="1805651" y="1859340"/>
            <a:ext cx="6277033" cy="1717237"/>
          </a:xfrm>
          <a:prstGeom prst="straightConnector1">
            <a:avLst/>
          </a:prstGeom>
          <a:ln w="25400">
            <a:solidFill>
              <a:srgbClr val="FF0000">
                <a:alpha val="50000"/>
              </a:srgb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7609933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CD71F73-3091-9BCC-ACFF-66D272D38DC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507A15DF-F137-EAEE-3156-16902F7AC28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3117" y="1663282"/>
            <a:ext cx="7772400" cy="4318513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F4F664E5-AD75-1B9B-C09E-668B71D14A26}"/>
              </a:ext>
            </a:extLst>
          </p:cNvPr>
          <p:cNvSpPr txBox="1"/>
          <p:nvPr/>
        </p:nvSpPr>
        <p:spPr>
          <a:xfrm>
            <a:off x="601884" y="578734"/>
            <a:ext cx="333687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he first </a:t>
            </a:r>
            <a:r>
              <a:rPr lang="en-US" b="1" dirty="0">
                <a:solidFill>
                  <a:schemeClr val="accent1">
                    <a:lumMod val="50000"/>
                  </a:schemeClr>
                </a:solidFill>
              </a:rPr>
              <a:t>data assets </a:t>
            </a:r>
            <a:r>
              <a:rPr lang="en-US" dirty="0"/>
              <a:t>after a </a:t>
            </a:r>
            <a:r>
              <a:rPr lang="en-US" b="1" dirty="0">
                <a:solidFill>
                  <a:schemeClr val="accent1">
                    <a:lumMod val="50000"/>
                  </a:schemeClr>
                </a:solidFill>
              </a:rPr>
              <a:t>scan</a:t>
            </a:r>
            <a:endParaRPr lang="en-US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45EF4A42-250B-8D90-8564-539A64AE89C6}"/>
              </a:ext>
            </a:extLst>
          </p:cNvPr>
          <p:cNvSpPr txBox="1"/>
          <p:nvPr/>
        </p:nvSpPr>
        <p:spPr>
          <a:xfrm>
            <a:off x="8082684" y="1397675"/>
            <a:ext cx="4109316" cy="923330"/>
          </a:xfrm>
          <a:prstGeom prst="rect">
            <a:avLst/>
          </a:prstGeom>
          <a:solidFill>
            <a:srgbClr val="FFFDF9">
              <a:alpha val="75000"/>
            </a:srgbClr>
          </a:solidFill>
        </p:spPr>
        <p:txBody>
          <a:bodyPr wrap="square" rtlCol="0">
            <a:spAutoFit/>
          </a:bodyPr>
          <a:lstStyle/>
          <a:p>
            <a:r>
              <a:rPr lang="en-US" dirty="0"/>
              <a:t>The </a:t>
            </a:r>
            <a:r>
              <a:rPr lang="en-US" b="1" dirty="0">
                <a:solidFill>
                  <a:schemeClr val="accent1">
                    <a:lumMod val="50000"/>
                  </a:schemeClr>
                </a:solidFill>
              </a:rPr>
              <a:t>History</a:t>
            </a:r>
            <a:r>
              <a:rPr lang="en-US" dirty="0"/>
              <a:t> tab shows any changes that has been made to the asset after it was scanned.</a:t>
            </a:r>
          </a:p>
        </p:txBody>
      </p: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F9E773F7-6FD3-924C-8A76-86352357766F}"/>
              </a:ext>
            </a:extLst>
          </p:cNvPr>
          <p:cNvCxnSpPr>
            <a:cxnSpLocks/>
          </p:cNvCxnSpPr>
          <p:nvPr/>
        </p:nvCxnSpPr>
        <p:spPr>
          <a:xfrm>
            <a:off x="11194648" y="4256588"/>
            <a:ext cx="0" cy="0"/>
          </a:xfrm>
          <a:prstGeom prst="line">
            <a:avLst/>
          </a:prstGeom>
          <a:ln w="25400">
            <a:solidFill>
              <a:srgbClr val="FF0000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9994E607-C23B-246C-D81C-93D3761F5602}"/>
              </a:ext>
            </a:extLst>
          </p:cNvPr>
          <p:cNvSpPr txBox="1"/>
          <p:nvPr/>
        </p:nvSpPr>
        <p:spPr>
          <a:xfrm>
            <a:off x="106100" y="6331848"/>
            <a:ext cx="141018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chemeClr val="accent1">
                    <a:lumMod val="50000"/>
                  </a:schemeClr>
                </a:solidFill>
              </a:rPr>
              <a:t>Data Map</a:t>
            </a:r>
            <a:endParaRPr lang="en-US" dirty="0"/>
          </a:p>
        </p:txBody>
      </p: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FC2D481A-E8F5-481D-4EB7-F5BA92A1253E}"/>
              </a:ext>
            </a:extLst>
          </p:cNvPr>
          <p:cNvCxnSpPr>
            <a:cxnSpLocks/>
            <a:stCxn id="4" idx="1"/>
          </p:cNvCxnSpPr>
          <p:nvPr/>
        </p:nvCxnSpPr>
        <p:spPr>
          <a:xfrm flipH="1">
            <a:off x="1770927" y="1859340"/>
            <a:ext cx="6311757" cy="2052903"/>
          </a:xfrm>
          <a:prstGeom prst="straightConnector1">
            <a:avLst/>
          </a:prstGeom>
          <a:ln w="25400">
            <a:solidFill>
              <a:srgbClr val="FF0000">
                <a:alpha val="50000"/>
              </a:srgb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5908789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D536FBE-7F68-D26F-8E15-7EDC19C0555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DE990B06-BA87-70F3-9BE9-0402FB2D18D5}"/>
              </a:ext>
            </a:extLst>
          </p:cNvPr>
          <p:cNvSpPr txBox="1"/>
          <p:nvPr/>
        </p:nvSpPr>
        <p:spPr>
          <a:xfrm>
            <a:off x="6423949" y="2569579"/>
            <a:ext cx="3847848" cy="132343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000" dirty="0">
                <a:latin typeface="Segoe UI" panose="020B0502040204020203" pitchFamily="34" charset="0"/>
                <a:cs typeface="Segoe UI" panose="020B0502040204020203" pitchFamily="34" charset="0"/>
              </a:rPr>
              <a:t>Enhancing the</a:t>
            </a:r>
            <a:br>
              <a:rPr lang="en-US" sz="4000" dirty="0"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en-US" sz="4000" dirty="0">
                <a:latin typeface="Segoe UI" panose="020B0502040204020203" pitchFamily="34" charset="0"/>
                <a:cs typeface="Segoe UI" panose="020B0502040204020203" pitchFamily="34" charset="0"/>
              </a:rPr>
              <a:t>“first” data asset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C211324-0A0D-B01C-CD30-0884179838C2}"/>
              </a:ext>
            </a:extLst>
          </p:cNvPr>
          <p:cNvSpPr txBox="1"/>
          <p:nvPr/>
        </p:nvSpPr>
        <p:spPr>
          <a:xfrm>
            <a:off x="106100" y="6331848"/>
            <a:ext cx="141018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chemeClr val="accent1">
                    <a:lumMod val="50000"/>
                  </a:schemeClr>
                </a:solidFill>
              </a:rPr>
              <a:t>Data Map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553663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790EDAA-8E1E-3978-F160-8DAE0474F5A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6D7C48D7-02CB-1C99-8803-15F2296CAB2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0284" y="1197288"/>
            <a:ext cx="7772400" cy="4260223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D4F5799C-76A5-9C6B-1DD5-295611AA716B}"/>
              </a:ext>
            </a:extLst>
          </p:cNvPr>
          <p:cNvSpPr txBox="1"/>
          <p:nvPr/>
        </p:nvSpPr>
        <p:spPr>
          <a:xfrm>
            <a:off x="601884" y="578734"/>
            <a:ext cx="317689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Changing the “first” </a:t>
            </a:r>
            <a:r>
              <a:rPr lang="en-US" b="1" dirty="0">
                <a:solidFill>
                  <a:schemeClr val="accent1">
                    <a:lumMod val="50000"/>
                  </a:schemeClr>
                </a:solidFill>
              </a:rPr>
              <a:t>data asset</a:t>
            </a:r>
            <a:endParaRPr lang="en-US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FCAB7D99-9572-C612-F38F-059C441C8955}"/>
              </a:ext>
            </a:extLst>
          </p:cNvPr>
          <p:cNvSpPr txBox="1"/>
          <p:nvPr/>
        </p:nvSpPr>
        <p:spPr>
          <a:xfrm>
            <a:off x="2520709" y="1400489"/>
            <a:ext cx="9171007" cy="4524315"/>
          </a:xfrm>
          <a:prstGeom prst="rect">
            <a:avLst/>
          </a:prstGeom>
          <a:solidFill>
            <a:srgbClr val="FFFDF9">
              <a:alpha val="91933"/>
            </a:srgbClr>
          </a:solidFill>
          <a:ln w="12700"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r>
              <a:rPr lang="en-US" dirty="0"/>
              <a:t>Elements most likely to be added on the “first” </a:t>
            </a:r>
            <a:r>
              <a:rPr lang="en-US" b="1" dirty="0">
                <a:solidFill>
                  <a:schemeClr val="accent1">
                    <a:lumMod val="50000"/>
                  </a:schemeClr>
                </a:solidFill>
              </a:rPr>
              <a:t>data asse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>
                <a:solidFill>
                  <a:schemeClr val="accent1">
                    <a:lumMod val="50000"/>
                  </a:schemeClr>
                </a:solidFill>
              </a:rPr>
              <a:t>Overview</a:t>
            </a:r>
            <a:r>
              <a:rPr lang="en-US" dirty="0"/>
              <a:t>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Add description, missing classifications, glossary terms and more…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>
                <a:solidFill>
                  <a:schemeClr val="accent1">
                    <a:lumMod val="50000"/>
                  </a:schemeClr>
                </a:solidFill>
              </a:rPr>
              <a:t>Propertie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No chang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>
                <a:solidFill>
                  <a:schemeClr val="accent1">
                    <a:lumMod val="50000"/>
                  </a:schemeClr>
                </a:solidFill>
              </a:rPr>
              <a:t>Schema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No changes, remember that a columns is also a data assets, so you could “shortcut” to this information through the “table”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>
                <a:solidFill>
                  <a:schemeClr val="accent1">
                    <a:lumMod val="50000"/>
                  </a:schemeClr>
                </a:solidFill>
              </a:rPr>
              <a:t>Lineage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Add any missing lineag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>
                <a:solidFill>
                  <a:schemeClr val="accent1">
                    <a:lumMod val="50000"/>
                  </a:schemeClr>
                </a:solidFill>
              </a:rPr>
              <a:t>Contact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Add person inform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>
                <a:solidFill>
                  <a:schemeClr val="accent1">
                    <a:lumMod val="50000"/>
                  </a:schemeClr>
                </a:solidFill>
              </a:rPr>
              <a:t>Related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Changes not possibl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>
                <a:solidFill>
                  <a:schemeClr val="accent1">
                    <a:lumMod val="50000"/>
                  </a:schemeClr>
                </a:solidFill>
              </a:rPr>
              <a:t>History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Changes not possible</a:t>
            </a:r>
          </a:p>
        </p:txBody>
      </p: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51C6D401-683C-A97D-05E4-EE18DECBF6B8}"/>
              </a:ext>
            </a:extLst>
          </p:cNvPr>
          <p:cNvCxnSpPr>
            <a:cxnSpLocks/>
          </p:cNvCxnSpPr>
          <p:nvPr/>
        </p:nvCxnSpPr>
        <p:spPr>
          <a:xfrm>
            <a:off x="11194648" y="4256588"/>
            <a:ext cx="0" cy="0"/>
          </a:xfrm>
          <a:prstGeom prst="line">
            <a:avLst/>
          </a:prstGeom>
          <a:ln w="25400">
            <a:solidFill>
              <a:srgbClr val="FF0000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DDD615EA-504A-1D44-49C4-1ECD966BFE43}"/>
              </a:ext>
            </a:extLst>
          </p:cNvPr>
          <p:cNvSpPr txBox="1"/>
          <p:nvPr/>
        </p:nvSpPr>
        <p:spPr>
          <a:xfrm>
            <a:off x="106100" y="6331848"/>
            <a:ext cx="141018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chemeClr val="accent1">
                    <a:lumMod val="50000"/>
                  </a:schemeClr>
                </a:solidFill>
              </a:rPr>
              <a:t>Data Map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5239097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6EEC98B-A882-D20D-4BB7-B27CB4F9DB5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A2039725-BF3F-E2DE-64B9-DB998EEDD504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6400800" y="2384897"/>
            <a:ext cx="5127585" cy="2566481"/>
          </a:xfrm>
          <a:prstGeom prst="rect">
            <a:avLst/>
          </a:prstGeom>
        </p:spPr>
        <p:txBody>
          <a:bodyPr/>
          <a:lstStyle/>
          <a:p>
            <a:pPr marL="0" indent="0">
              <a:buNone/>
            </a:pPr>
            <a:r>
              <a:rPr lang="en-GB" sz="4000" dirty="0">
                <a:solidFill>
                  <a:schemeClr val="bg1"/>
                </a:solidFill>
              </a:rPr>
              <a:t>Get </a:t>
            </a:r>
            <a:r>
              <a:rPr lang="en-GB" sz="4000" b="1" dirty="0">
                <a:solidFill>
                  <a:schemeClr val="accent1">
                    <a:lumMod val="50000"/>
                  </a:schemeClr>
                </a:solidFill>
              </a:rPr>
              <a:t>Purview Data Governance</a:t>
            </a:r>
            <a:r>
              <a:rPr lang="en-GB" sz="4000" dirty="0">
                <a:solidFill>
                  <a:schemeClr val="bg1"/>
                </a:solidFill>
              </a:rPr>
              <a:t> running</a:t>
            </a:r>
            <a:endParaRPr lang="en-DK" sz="40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3434656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0E1CE0D-6B9E-7564-9578-9C5DEB1A1E2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456EDDDD-F17B-25EA-5846-F4D092BE3F51}"/>
              </a:ext>
            </a:extLst>
          </p:cNvPr>
          <p:cNvSpPr txBox="1"/>
          <p:nvPr/>
        </p:nvSpPr>
        <p:spPr>
          <a:xfrm>
            <a:off x="6423949" y="2569579"/>
            <a:ext cx="4638386" cy="132343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000" dirty="0">
                <a:latin typeface="Segoe UI" panose="020B0502040204020203" pitchFamily="34" charset="0"/>
                <a:cs typeface="Segoe UI" panose="020B0502040204020203" pitchFamily="34" charset="0"/>
              </a:rPr>
              <a:t>Add on information</a:t>
            </a:r>
            <a:br>
              <a:rPr lang="en-US" sz="4000" dirty="0"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en-US" sz="4000" dirty="0">
                <a:latin typeface="Segoe UI" panose="020B0502040204020203" pitchFamily="34" charset="0"/>
                <a:cs typeface="Segoe UI" panose="020B0502040204020203" pitchFamily="34" charset="0"/>
              </a:rPr>
              <a:t>to </a:t>
            </a:r>
            <a:r>
              <a:rPr lang="en-US" sz="4000" b="1" dirty="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ata assets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F8FE160-9A4B-4BE8-383F-B7DFAA0A274A}"/>
              </a:ext>
            </a:extLst>
          </p:cNvPr>
          <p:cNvSpPr txBox="1"/>
          <p:nvPr/>
        </p:nvSpPr>
        <p:spPr>
          <a:xfrm>
            <a:off x="106100" y="6331848"/>
            <a:ext cx="141018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chemeClr val="accent1">
                    <a:lumMod val="50000"/>
                  </a:schemeClr>
                </a:solidFill>
              </a:rPr>
              <a:t>Data Map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5650105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8B59B24D-985E-ADD9-63E1-A35AF032CE04}"/>
              </a:ext>
            </a:extLst>
          </p:cNvPr>
          <p:cNvSpPr txBox="1"/>
          <p:nvPr/>
        </p:nvSpPr>
        <p:spPr>
          <a:xfrm>
            <a:off x="617786" y="1289953"/>
            <a:ext cx="7491893" cy="427809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he following items are information maintained in Purview itself.</a:t>
            </a:r>
          </a:p>
          <a:p>
            <a:endParaRPr lang="en-US" sz="1600" dirty="0"/>
          </a:p>
          <a:p>
            <a:r>
              <a:rPr lang="en-US" sz="1600" b="1" u="sng" dirty="0">
                <a:solidFill>
                  <a:srgbClr val="00B050"/>
                </a:solidFill>
              </a:rPr>
              <a:t>Glossary</a:t>
            </a:r>
          </a:p>
          <a:p>
            <a:r>
              <a:rPr lang="en-US" sz="1600" dirty="0"/>
              <a:t>Glossary terms are individual concepts that define the business, processes, and systems used in an organization. </a:t>
            </a:r>
          </a:p>
          <a:p>
            <a:endParaRPr lang="en-US" sz="1600" dirty="0"/>
          </a:p>
          <a:p>
            <a:r>
              <a:rPr lang="en-US" sz="1600" b="1" u="sng" dirty="0">
                <a:solidFill>
                  <a:srgbClr val="00B050"/>
                </a:solidFill>
              </a:rPr>
              <a:t>Data asset attributes</a:t>
            </a:r>
          </a:p>
          <a:p>
            <a:r>
              <a:rPr lang="en-US" sz="1600" dirty="0"/>
              <a:t>Data asset attributes are a type of custom metadata in Microsoft Purview Unified Catalog that you can create and apply to your organization's data assets.</a:t>
            </a:r>
          </a:p>
          <a:p>
            <a:endParaRPr lang="en-US" sz="1600" dirty="0"/>
          </a:p>
          <a:p>
            <a:r>
              <a:rPr lang="en-US" sz="1600" b="1" u="sng" dirty="0">
                <a:solidFill>
                  <a:srgbClr val="00B050"/>
                </a:solidFill>
              </a:rPr>
              <a:t>Classifications</a:t>
            </a:r>
          </a:p>
          <a:p>
            <a:r>
              <a:rPr lang="en-US" sz="1600" dirty="0"/>
              <a:t>Classifications are used for describing what content a data asset contains. </a:t>
            </a:r>
          </a:p>
          <a:p>
            <a:endParaRPr lang="en-US" sz="1600" dirty="0"/>
          </a:p>
          <a:p>
            <a:r>
              <a:rPr lang="en-US" sz="1600" b="1" u="sng" dirty="0">
                <a:solidFill>
                  <a:srgbClr val="00B050"/>
                </a:solidFill>
              </a:rPr>
              <a:t>Sensitivity labels</a:t>
            </a:r>
          </a:p>
          <a:p>
            <a:r>
              <a:rPr lang="en-US" sz="1600" dirty="0"/>
              <a:t>Gives you possibility to mark data assets to reflect the intended usage. </a:t>
            </a:r>
          </a:p>
          <a:p>
            <a:endParaRPr lang="en-US" sz="1600" dirty="0"/>
          </a:p>
          <a:p>
            <a:r>
              <a:rPr lang="en-US" sz="1600" dirty="0"/>
              <a:t>The maintenance and further description are described in the following slides.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01C68CA-ABA9-91C8-548B-53E02F098189}"/>
              </a:ext>
            </a:extLst>
          </p:cNvPr>
          <p:cNvSpPr txBox="1"/>
          <p:nvPr/>
        </p:nvSpPr>
        <p:spPr>
          <a:xfrm>
            <a:off x="617786" y="447358"/>
            <a:ext cx="326672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“Add-on” items for a </a:t>
            </a:r>
            <a:r>
              <a:rPr lang="en-US" b="1" dirty="0">
                <a:solidFill>
                  <a:schemeClr val="accent1">
                    <a:lumMod val="50000"/>
                  </a:schemeClr>
                </a:solidFill>
              </a:rPr>
              <a:t>data asse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1972810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C5D60D6-6E95-58EA-8C67-61C27F4AA19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08750425-0E0B-1F20-046D-E449E036E1AE}"/>
              </a:ext>
            </a:extLst>
          </p:cNvPr>
          <p:cNvSpPr txBox="1"/>
          <p:nvPr/>
        </p:nvSpPr>
        <p:spPr>
          <a:xfrm>
            <a:off x="617786" y="977637"/>
            <a:ext cx="7656784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Glossary terms are individual concepts that define the business, processes, and systems used in an organization. You can apply them across a data estate, relating to data assets and data products to provide business context to your users. A technically named SQL table becomes less mysterious once it's linked to your "Account" business term, since users can immediately see what aspect of the business it's related to.</a:t>
            </a:r>
          </a:p>
          <a:p>
            <a:endParaRPr lang="en-US" sz="1600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59BBE82A-3103-6DC9-2E85-F1D56B66CC0D}"/>
              </a:ext>
            </a:extLst>
          </p:cNvPr>
          <p:cNvSpPr txBox="1"/>
          <p:nvPr/>
        </p:nvSpPr>
        <p:spPr>
          <a:xfrm>
            <a:off x="617786" y="447358"/>
            <a:ext cx="102521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chemeClr val="accent1">
                    <a:lumMod val="50000"/>
                  </a:schemeClr>
                </a:solidFill>
              </a:rPr>
              <a:t>Glossar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7620767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0497B1B-D026-7133-7E5A-49DE684F604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00BAEC4F-B327-0DF5-986B-7BB9F6E0AD37}"/>
              </a:ext>
            </a:extLst>
          </p:cNvPr>
          <p:cNvSpPr txBox="1"/>
          <p:nvPr/>
        </p:nvSpPr>
        <p:spPr>
          <a:xfrm>
            <a:off x="617786" y="1142529"/>
            <a:ext cx="7671775" cy="3046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Data asset attributes are a type of custom metadata in Microsoft Purview Unified Catalog that you can create and apply to your organization's data assets. These user-defined attributes provide a business or organization level context to an asset, helping data consumers understand the role an asset plays in the organization.</a:t>
            </a:r>
          </a:p>
          <a:p>
            <a:endParaRPr lang="en-US" sz="1600" dirty="0"/>
          </a:p>
          <a:p>
            <a:r>
              <a:rPr lang="en-US" sz="1600" dirty="0"/>
              <a:t>Data asset attributes must be connected to one or more technologies and the asset types associated with those.</a:t>
            </a:r>
          </a:p>
          <a:p>
            <a:endParaRPr lang="en-US" sz="1600" dirty="0"/>
          </a:p>
          <a:p>
            <a:endParaRPr lang="en-US" sz="1600" dirty="0"/>
          </a:p>
          <a:p>
            <a:r>
              <a:rPr lang="en-US" sz="1600" dirty="0"/>
              <a:t>The structure is as follows:</a:t>
            </a:r>
          </a:p>
          <a:p>
            <a:endParaRPr lang="en-US" sz="1600" b="1" u="sng" dirty="0">
              <a:solidFill>
                <a:srgbClr val="00B050"/>
              </a:solidFill>
            </a:endParaRPr>
          </a:p>
          <a:p>
            <a:endParaRPr lang="en-US" sz="1600" dirty="0">
              <a:solidFill>
                <a:srgbClr val="00B050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3EE0FCC-08E3-05C4-7D96-784CB27B7156}"/>
              </a:ext>
            </a:extLst>
          </p:cNvPr>
          <p:cNvSpPr txBox="1"/>
          <p:nvPr/>
        </p:nvSpPr>
        <p:spPr>
          <a:xfrm>
            <a:off x="617786" y="447358"/>
            <a:ext cx="2212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chemeClr val="accent1">
                    <a:lumMod val="50000"/>
                  </a:schemeClr>
                </a:solidFill>
              </a:rPr>
              <a:t>Data asset attributes</a:t>
            </a:r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DA0849A-F713-B89C-43CB-EBED917162D1}"/>
              </a:ext>
            </a:extLst>
          </p:cNvPr>
          <p:cNvSpPr txBox="1"/>
          <p:nvPr/>
        </p:nvSpPr>
        <p:spPr>
          <a:xfrm>
            <a:off x="794479" y="3943296"/>
            <a:ext cx="6781793" cy="369332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Attribute group – the heading of the attributes belonging together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E7A1035-3581-242D-9894-000D6D80DCC6}"/>
              </a:ext>
            </a:extLst>
          </p:cNvPr>
          <p:cNvSpPr txBox="1"/>
          <p:nvPr/>
        </p:nvSpPr>
        <p:spPr>
          <a:xfrm>
            <a:off x="794479" y="5171607"/>
            <a:ext cx="6549165" cy="646331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Attribute – the set of attributes that can/must be entered. </a:t>
            </a:r>
            <a:br>
              <a:rPr lang="en-US" dirty="0"/>
            </a:br>
            <a:r>
              <a:rPr lang="en-US" dirty="0"/>
              <a:t>                  Note - Each attribute is connected to the asset types.</a:t>
            </a:r>
          </a:p>
        </p:txBody>
      </p:sp>
      <p:sp>
        <p:nvSpPr>
          <p:cNvPr id="7" name="Down Arrow 6">
            <a:extLst>
              <a:ext uri="{FF2B5EF4-FFF2-40B4-BE49-F238E27FC236}">
                <a16:creationId xmlns:a16="http://schemas.microsoft.com/office/drawing/2014/main" id="{5BAE6542-FEB0-6CD4-38E0-A06919C7BBE1}"/>
              </a:ext>
            </a:extLst>
          </p:cNvPr>
          <p:cNvSpPr/>
          <p:nvPr/>
        </p:nvSpPr>
        <p:spPr>
          <a:xfrm>
            <a:off x="1157320" y="4412344"/>
            <a:ext cx="326701" cy="699857"/>
          </a:xfrm>
          <a:prstGeom prst="downArrow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EABB81E-233B-807E-547A-DB9ED6E2EBBD}"/>
              </a:ext>
            </a:extLst>
          </p:cNvPr>
          <p:cNvSpPr txBox="1"/>
          <p:nvPr/>
        </p:nvSpPr>
        <p:spPr>
          <a:xfrm>
            <a:off x="1350517" y="4576886"/>
            <a:ext cx="129715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/>
              <a:t>Has one or more</a:t>
            </a:r>
          </a:p>
        </p:txBody>
      </p:sp>
    </p:spTree>
    <p:extLst>
      <p:ext uri="{BB962C8B-B14F-4D97-AF65-F5344CB8AC3E}">
        <p14:creationId xmlns:p14="http://schemas.microsoft.com/office/powerpoint/2010/main" val="2222417700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756F19E-788A-42FB-25ED-6FB2E756D7B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6149F943-98E9-7605-EE2C-6FC2EEF9352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26322" y="1215209"/>
            <a:ext cx="9660063" cy="4469811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5B1EFB76-9266-7966-E6E8-2812F3B9C713}"/>
              </a:ext>
            </a:extLst>
          </p:cNvPr>
          <p:cNvSpPr txBox="1"/>
          <p:nvPr/>
        </p:nvSpPr>
        <p:spPr>
          <a:xfrm>
            <a:off x="617786" y="447358"/>
            <a:ext cx="328795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chemeClr val="accent1">
                    <a:lumMod val="50000"/>
                  </a:schemeClr>
                </a:solidFill>
              </a:rPr>
              <a:t>Data asset attributes </a:t>
            </a:r>
            <a:r>
              <a:rPr lang="en-US" dirty="0"/>
              <a:t>- maintain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1562A46A-1F56-29E8-A99A-F5817C9F69D8}"/>
              </a:ext>
            </a:extLst>
          </p:cNvPr>
          <p:cNvSpPr/>
          <p:nvPr/>
        </p:nvSpPr>
        <p:spPr>
          <a:xfrm>
            <a:off x="573024" y="2023672"/>
            <a:ext cx="1825402" cy="554636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5816491A-4EF6-1C04-0171-AE3B2C7B08C2}"/>
              </a:ext>
            </a:extLst>
          </p:cNvPr>
          <p:cNvSpPr/>
          <p:nvPr/>
        </p:nvSpPr>
        <p:spPr>
          <a:xfrm>
            <a:off x="576217" y="2853250"/>
            <a:ext cx="1665715" cy="554636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522AAD7D-D247-9012-B2AD-43D3605C0195}"/>
              </a:ext>
            </a:extLst>
          </p:cNvPr>
          <p:cNvSpPr/>
          <p:nvPr/>
        </p:nvSpPr>
        <p:spPr>
          <a:xfrm>
            <a:off x="4176354" y="2204042"/>
            <a:ext cx="1665715" cy="554636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U-Turn Arrow 7">
            <a:extLst>
              <a:ext uri="{FF2B5EF4-FFF2-40B4-BE49-F238E27FC236}">
                <a16:creationId xmlns:a16="http://schemas.microsoft.com/office/drawing/2014/main" id="{A08C0A54-7E21-E81F-2BB6-EE5D7408EA4D}"/>
              </a:ext>
            </a:extLst>
          </p:cNvPr>
          <p:cNvSpPr/>
          <p:nvPr/>
        </p:nvSpPr>
        <p:spPr>
          <a:xfrm rot="16200000" flipH="1">
            <a:off x="-221211" y="2515362"/>
            <a:ext cx="1063814" cy="524656"/>
          </a:xfrm>
          <a:prstGeom prst="uturnArrow">
            <a:avLst>
              <a:gd name="adj1" fmla="val 25000"/>
              <a:gd name="adj2" fmla="val 25000"/>
              <a:gd name="adj3" fmla="val 25000"/>
              <a:gd name="adj4" fmla="val 43750"/>
              <a:gd name="adj5" fmla="val 100000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9" name="U-Turn Arrow 8">
            <a:extLst>
              <a:ext uri="{FF2B5EF4-FFF2-40B4-BE49-F238E27FC236}">
                <a16:creationId xmlns:a16="http://schemas.microsoft.com/office/drawing/2014/main" id="{AB7041F8-B8E0-8AEF-2D89-F66AE0952C54}"/>
              </a:ext>
            </a:extLst>
          </p:cNvPr>
          <p:cNvSpPr/>
          <p:nvPr/>
        </p:nvSpPr>
        <p:spPr>
          <a:xfrm rot="10800000" flipH="1">
            <a:off x="1409074" y="3386771"/>
            <a:ext cx="3679761" cy="712552"/>
          </a:xfrm>
          <a:prstGeom prst="uturnArrow">
            <a:avLst>
              <a:gd name="adj1" fmla="val 21795"/>
              <a:gd name="adj2" fmla="val 13771"/>
              <a:gd name="adj3" fmla="val 16629"/>
              <a:gd name="adj4" fmla="val 31273"/>
              <a:gd name="adj5" fmla="val 100000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0" name="Up Arrow 9">
            <a:extLst>
              <a:ext uri="{FF2B5EF4-FFF2-40B4-BE49-F238E27FC236}">
                <a16:creationId xmlns:a16="http://schemas.microsoft.com/office/drawing/2014/main" id="{F7C40998-5681-FC02-82D8-3250709BE370}"/>
              </a:ext>
            </a:extLst>
          </p:cNvPr>
          <p:cNvSpPr/>
          <p:nvPr/>
        </p:nvSpPr>
        <p:spPr>
          <a:xfrm>
            <a:off x="4826833" y="2578308"/>
            <a:ext cx="332280" cy="1066694"/>
          </a:xfrm>
          <a:prstGeom prst="upArrow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73935327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91A9E722-B1E5-802D-5004-7321AF3B355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9522" y="836160"/>
            <a:ext cx="7772400" cy="5320432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8FEA0F63-4531-CB85-A10D-E0413858E502}"/>
              </a:ext>
            </a:extLst>
          </p:cNvPr>
          <p:cNvSpPr txBox="1"/>
          <p:nvPr/>
        </p:nvSpPr>
        <p:spPr>
          <a:xfrm>
            <a:off x="544630" y="338793"/>
            <a:ext cx="396352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chemeClr val="accent1">
                    <a:lumMod val="50000"/>
                  </a:schemeClr>
                </a:solidFill>
              </a:rPr>
              <a:t>Data asset attributes </a:t>
            </a:r>
            <a:r>
              <a:rPr lang="en-US" dirty="0"/>
              <a:t>– attribute group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0D43E4D-28EB-9864-05EB-D4433AA64989}"/>
              </a:ext>
            </a:extLst>
          </p:cNvPr>
          <p:cNvSpPr txBox="1"/>
          <p:nvPr/>
        </p:nvSpPr>
        <p:spPr>
          <a:xfrm>
            <a:off x="5527623" y="3785988"/>
            <a:ext cx="6501818" cy="1107996"/>
          </a:xfrm>
          <a:prstGeom prst="rect">
            <a:avLst/>
          </a:prstGeom>
          <a:solidFill>
            <a:srgbClr val="FFFDF9">
              <a:alpha val="57023"/>
            </a:srgbClr>
          </a:solidFill>
        </p:spPr>
        <p:txBody>
          <a:bodyPr wrap="square" rtlCol="0">
            <a:spAutoFit/>
          </a:bodyPr>
          <a:lstStyle/>
          <a:p>
            <a:r>
              <a:rPr lang="en-US" sz="1600" dirty="0"/>
              <a:t>The attribute group consist merely of a name and an optional description</a:t>
            </a:r>
            <a:br>
              <a:rPr lang="en-US" sz="1600" dirty="0"/>
            </a:br>
            <a:br>
              <a:rPr lang="en-US" sz="1600" dirty="0"/>
            </a:br>
            <a:r>
              <a:rPr lang="en-US" sz="1600" dirty="0"/>
              <a:t>You can from this screen get to the </a:t>
            </a:r>
            <a:r>
              <a:rPr lang="en-US" sz="1600" b="1" u="sng" dirty="0">
                <a:solidFill>
                  <a:schemeClr val="accent1">
                    <a:lumMod val="50000"/>
                  </a:schemeClr>
                </a:solidFill>
              </a:rPr>
              <a:t>attributes.</a:t>
            </a:r>
            <a:endParaRPr lang="en-US" b="1" u="sng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6153DF8E-24D3-4A0A-64E8-F909A61CF632}"/>
              </a:ext>
            </a:extLst>
          </p:cNvPr>
          <p:cNvSpPr/>
          <p:nvPr/>
        </p:nvSpPr>
        <p:spPr>
          <a:xfrm>
            <a:off x="3962400" y="1097280"/>
            <a:ext cx="1402080" cy="528320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F805AC05-D589-D169-D583-A0851E7ED212}"/>
              </a:ext>
            </a:extLst>
          </p:cNvPr>
          <p:cNvSpPr/>
          <p:nvPr/>
        </p:nvSpPr>
        <p:spPr>
          <a:xfrm>
            <a:off x="3962400" y="2968056"/>
            <a:ext cx="4354630" cy="1126424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51100024-EB51-A4C2-FB5A-9AA9D3297F4C}"/>
              </a:ext>
            </a:extLst>
          </p:cNvPr>
          <p:cNvCxnSpPr>
            <a:cxnSpLocks/>
          </p:cNvCxnSpPr>
          <p:nvPr/>
        </p:nvCxnSpPr>
        <p:spPr>
          <a:xfrm flipH="1" flipV="1">
            <a:off x="4653280" y="1625600"/>
            <a:ext cx="4023360" cy="3119120"/>
          </a:xfrm>
          <a:prstGeom prst="straightConnector1">
            <a:avLst/>
          </a:prstGeom>
          <a:ln w="25400">
            <a:solidFill>
              <a:srgbClr val="FF0000">
                <a:alpha val="50000"/>
              </a:srgb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C9017ED2-8532-DC3B-25C1-32F97B0B85C7}"/>
              </a:ext>
            </a:extLst>
          </p:cNvPr>
          <p:cNvCxnSpPr>
            <a:cxnSpLocks/>
            <a:endCxn id="6" idx="6"/>
          </p:cNvCxnSpPr>
          <p:nvPr/>
        </p:nvCxnSpPr>
        <p:spPr>
          <a:xfrm flipH="1" flipV="1">
            <a:off x="8317030" y="3531268"/>
            <a:ext cx="359610" cy="1213452"/>
          </a:xfrm>
          <a:prstGeom prst="straightConnector1">
            <a:avLst/>
          </a:prstGeom>
          <a:ln w="25400">
            <a:solidFill>
              <a:srgbClr val="FF0000">
                <a:alpha val="50000"/>
              </a:srgb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9057164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A068C6B9-86E9-466A-5291-257027564F1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9126" y="842878"/>
            <a:ext cx="7772400" cy="5306997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6A7C7DDE-37DB-E0F5-ACB7-947D3590899B}"/>
              </a:ext>
            </a:extLst>
          </p:cNvPr>
          <p:cNvSpPr txBox="1"/>
          <p:nvPr/>
        </p:nvSpPr>
        <p:spPr>
          <a:xfrm>
            <a:off x="5690182" y="3196708"/>
            <a:ext cx="6501818" cy="3046988"/>
          </a:xfrm>
          <a:prstGeom prst="rect">
            <a:avLst/>
          </a:prstGeom>
          <a:solidFill>
            <a:srgbClr val="FFFDF9">
              <a:alpha val="57023"/>
            </a:srgbClr>
          </a:solidFill>
        </p:spPr>
        <p:txBody>
          <a:bodyPr wrap="square" rtlCol="0">
            <a:spAutoFit/>
          </a:bodyPr>
          <a:lstStyle/>
          <a:p>
            <a:r>
              <a:rPr lang="en-US" sz="1600" dirty="0"/>
              <a:t>The attribute name consist of a name and an optional description</a:t>
            </a:r>
            <a:br>
              <a:rPr lang="en-US" sz="1600" dirty="0"/>
            </a:br>
            <a:br>
              <a:rPr lang="en-US" sz="1600" dirty="0"/>
            </a:br>
            <a:r>
              <a:rPr lang="en-US" sz="1600" dirty="0"/>
              <a:t>It also has a </a:t>
            </a:r>
            <a:r>
              <a:rPr lang="en-US" sz="1600" b="1" u="sng" dirty="0">
                <a:solidFill>
                  <a:schemeClr val="accent1">
                    <a:lumMod val="50000"/>
                  </a:schemeClr>
                </a:solidFill>
              </a:rPr>
              <a:t>Field type </a:t>
            </a:r>
            <a:r>
              <a:rPr lang="en-US" sz="1600" dirty="0"/>
              <a:t>that can be one the following values:</a:t>
            </a:r>
            <a:endParaRPr lang="en-US" sz="1600" b="1" u="sng" dirty="0">
              <a:solidFill>
                <a:schemeClr val="accent1">
                  <a:lumMod val="50000"/>
                </a:schemeClr>
              </a:solidFill>
            </a:endParaRPr>
          </a:p>
          <a:p>
            <a:r>
              <a:rPr lang="en-US" sz="1600" b="1" dirty="0">
                <a:solidFill>
                  <a:schemeClr val="accent1">
                    <a:lumMod val="50000"/>
                  </a:schemeClr>
                </a:solidFill>
              </a:rPr>
              <a:t>Text </a:t>
            </a:r>
            <a:r>
              <a:rPr lang="en-US" sz="1600" dirty="0"/>
              <a:t>– any text</a:t>
            </a:r>
            <a:endParaRPr lang="en-US" sz="1600" b="1" dirty="0">
              <a:solidFill>
                <a:schemeClr val="accent1">
                  <a:lumMod val="50000"/>
                </a:schemeClr>
              </a:solidFill>
            </a:endParaRPr>
          </a:p>
          <a:p>
            <a:r>
              <a:rPr lang="en-US" sz="1600" b="1" dirty="0">
                <a:solidFill>
                  <a:schemeClr val="accent1">
                    <a:lumMod val="50000"/>
                  </a:schemeClr>
                </a:solidFill>
              </a:rPr>
              <a:t>Single Choice – </a:t>
            </a:r>
            <a:r>
              <a:rPr lang="en-US" sz="1600" dirty="0"/>
              <a:t>a list from which you must choose one value</a:t>
            </a:r>
          </a:p>
          <a:p>
            <a:r>
              <a:rPr lang="en-US" sz="1600" b="1" dirty="0">
                <a:solidFill>
                  <a:schemeClr val="accent1">
                    <a:lumMod val="50000"/>
                  </a:schemeClr>
                </a:solidFill>
              </a:rPr>
              <a:t>Multiple Choice – </a:t>
            </a:r>
            <a:r>
              <a:rPr lang="en-US" sz="1600" dirty="0"/>
              <a:t>a list from which you must choose one or more values</a:t>
            </a:r>
          </a:p>
          <a:p>
            <a:r>
              <a:rPr lang="en-US" sz="1600" b="1" dirty="0">
                <a:solidFill>
                  <a:schemeClr val="accent1">
                    <a:lumMod val="50000"/>
                  </a:schemeClr>
                </a:solidFill>
              </a:rPr>
              <a:t>Date – </a:t>
            </a:r>
            <a:r>
              <a:rPr lang="en-US" sz="1600" dirty="0"/>
              <a:t>a date field</a:t>
            </a:r>
          </a:p>
          <a:p>
            <a:r>
              <a:rPr lang="en-US" sz="1600" b="1" dirty="0">
                <a:solidFill>
                  <a:schemeClr val="accent1">
                    <a:lumMod val="50000"/>
                  </a:schemeClr>
                </a:solidFill>
              </a:rPr>
              <a:t>Boolean – </a:t>
            </a:r>
            <a:r>
              <a:rPr lang="en-US" sz="1600" dirty="0"/>
              <a:t>a yes/no field</a:t>
            </a:r>
          </a:p>
          <a:p>
            <a:r>
              <a:rPr lang="en-US" sz="1600" b="1" dirty="0">
                <a:solidFill>
                  <a:schemeClr val="accent1">
                    <a:lumMod val="50000"/>
                  </a:schemeClr>
                </a:solidFill>
              </a:rPr>
              <a:t>Byte - </a:t>
            </a:r>
            <a:r>
              <a:rPr lang="en-US" sz="1600" dirty="0"/>
              <a:t>a </a:t>
            </a:r>
            <a:r>
              <a:rPr lang="en-US" sz="1600" dirty="0" err="1"/>
              <a:t>charcater</a:t>
            </a:r>
            <a:endParaRPr lang="en-US" sz="1600" dirty="0"/>
          </a:p>
          <a:p>
            <a:r>
              <a:rPr lang="en-US" sz="1600" b="1" dirty="0">
                <a:solidFill>
                  <a:schemeClr val="accent1">
                    <a:lumMod val="50000"/>
                  </a:schemeClr>
                </a:solidFill>
              </a:rPr>
              <a:t>Double – </a:t>
            </a:r>
            <a:r>
              <a:rPr lang="en-US" sz="1600" dirty="0"/>
              <a:t>a number of type double</a:t>
            </a:r>
          </a:p>
          <a:p>
            <a:r>
              <a:rPr lang="en-US" sz="1600" b="1" dirty="0">
                <a:solidFill>
                  <a:schemeClr val="accent1">
                    <a:lumMod val="50000"/>
                  </a:schemeClr>
                </a:solidFill>
              </a:rPr>
              <a:t>Float – </a:t>
            </a:r>
            <a:r>
              <a:rPr lang="en-US" sz="1600" dirty="0"/>
              <a:t>a number of type float</a:t>
            </a:r>
          </a:p>
          <a:p>
            <a:r>
              <a:rPr lang="en-US" sz="1600" b="1" dirty="0">
                <a:solidFill>
                  <a:schemeClr val="accent1">
                    <a:lumMod val="50000"/>
                  </a:schemeClr>
                </a:solidFill>
              </a:rPr>
              <a:t>Integer</a:t>
            </a:r>
            <a:r>
              <a:rPr lang="en-US" sz="1600" dirty="0"/>
              <a:t> – a number of type integer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AD7F9B3-2DD0-7627-EB74-5BDB38A9E424}"/>
              </a:ext>
            </a:extLst>
          </p:cNvPr>
          <p:cNvSpPr txBox="1"/>
          <p:nvPr/>
        </p:nvSpPr>
        <p:spPr>
          <a:xfrm>
            <a:off x="544630" y="338793"/>
            <a:ext cx="344812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chemeClr val="accent1">
                    <a:lumMod val="50000"/>
                  </a:schemeClr>
                </a:solidFill>
              </a:rPr>
              <a:t>Data asset attributes </a:t>
            </a:r>
            <a:r>
              <a:rPr lang="en-US" dirty="0"/>
              <a:t>– attribute 1</a:t>
            </a:r>
          </a:p>
        </p:txBody>
      </p:sp>
    </p:spTree>
    <p:extLst>
      <p:ext uri="{BB962C8B-B14F-4D97-AF65-F5344CB8AC3E}">
        <p14:creationId xmlns:p14="http://schemas.microsoft.com/office/powerpoint/2010/main" val="311678123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003001BA-9A65-01E8-378F-828A779C157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8377" y="775501"/>
            <a:ext cx="7772400" cy="5306997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10079AD7-9324-4C95-2BBD-9B7C0AF7641A}"/>
              </a:ext>
            </a:extLst>
          </p:cNvPr>
          <p:cNvSpPr txBox="1"/>
          <p:nvPr/>
        </p:nvSpPr>
        <p:spPr>
          <a:xfrm>
            <a:off x="6675702" y="4456548"/>
            <a:ext cx="5231818" cy="584775"/>
          </a:xfrm>
          <a:prstGeom prst="rect">
            <a:avLst/>
          </a:prstGeom>
          <a:solidFill>
            <a:srgbClr val="FFFDF9">
              <a:alpha val="57023"/>
            </a:srgbClr>
          </a:solidFill>
        </p:spPr>
        <p:txBody>
          <a:bodyPr wrap="square" rtlCol="0">
            <a:spAutoFit/>
          </a:bodyPr>
          <a:lstStyle/>
          <a:p>
            <a:r>
              <a:rPr lang="en-US" sz="1600" dirty="0"/>
              <a:t>The attribute must also be connected to one or more </a:t>
            </a:r>
            <a:r>
              <a:rPr lang="en-US" sz="1600" b="1" u="sng" dirty="0">
                <a:solidFill>
                  <a:schemeClr val="accent1">
                    <a:lumMod val="50000"/>
                  </a:schemeClr>
                </a:solidFill>
              </a:rPr>
              <a:t>asset types</a:t>
            </a:r>
            <a:r>
              <a:rPr lang="en-US" sz="1600" dirty="0"/>
              <a:t> where it will be offered as an option.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74CE572-706F-DD92-C22A-7E120F9B9435}"/>
              </a:ext>
            </a:extLst>
          </p:cNvPr>
          <p:cNvSpPr txBox="1"/>
          <p:nvPr/>
        </p:nvSpPr>
        <p:spPr>
          <a:xfrm>
            <a:off x="544630" y="338793"/>
            <a:ext cx="349461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chemeClr val="accent1">
                    <a:lumMod val="50000"/>
                  </a:schemeClr>
                </a:solidFill>
              </a:rPr>
              <a:t>Data asset attributes </a:t>
            </a:r>
            <a:r>
              <a:rPr lang="en-US" dirty="0"/>
              <a:t>– attribute 2</a:t>
            </a:r>
          </a:p>
        </p:txBody>
      </p:sp>
    </p:spTree>
    <p:extLst>
      <p:ext uri="{BB962C8B-B14F-4D97-AF65-F5344CB8AC3E}">
        <p14:creationId xmlns:p14="http://schemas.microsoft.com/office/powerpoint/2010/main" val="3301021290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EBA3E05-A7D5-FF07-447C-C18719E0D75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273DE5CA-77CF-242F-1762-2D8D7E6EB166}"/>
              </a:ext>
            </a:extLst>
          </p:cNvPr>
          <p:cNvSpPr txBox="1"/>
          <p:nvPr/>
        </p:nvSpPr>
        <p:spPr>
          <a:xfrm>
            <a:off x="617786" y="1077633"/>
            <a:ext cx="7489151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Classifications are used for describing what content a data asset contains. Often this is PII related information like name, e-mail, address etc. But it can be any information valuable for the users of Purview content. These classification can be assigned through the scans and/or manually.</a:t>
            </a:r>
          </a:p>
          <a:p>
            <a:endParaRPr lang="en-US" sz="1600" dirty="0"/>
          </a:p>
          <a:p>
            <a:r>
              <a:rPr lang="en-US" sz="1600" dirty="0"/>
              <a:t>The structure is as follows: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5BBBBB3-F072-BE09-BAFE-68E0E721FDA4}"/>
              </a:ext>
            </a:extLst>
          </p:cNvPr>
          <p:cNvSpPr txBox="1"/>
          <p:nvPr/>
        </p:nvSpPr>
        <p:spPr>
          <a:xfrm>
            <a:off x="617786" y="447358"/>
            <a:ext cx="155202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chemeClr val="accent1">
                    <a:lumMod val="50000"/>
                  </a:schemeClr>
                </a:solidFill>
              </a:rPr>
              <a:t>Classifications</a:t>
            </a:r>
            <a:endParaRPr lang="en-US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114B5E09-CAEA-E148-6A01-F65B0B94C884}"/>
              </a:ext>
            </a:extLst>
          </p:cNvPr>
          <p:cNvSpPr txBox="1"/>
          <p:nvPr/>
        </p:nvSpPr>
        <p:spPr>
          <a:xfrm>
            <a:off x="1125542" y="2995657"/>
            <a:ext cx="6914137" cy="646331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00B050"/>
                </a:solidFill>
              </a:rPr>
              <a:t>Scan rule set </a:t>
            </a:r>
            <a:r>
              <a:rPr lang="en-US" dirty="0"/>
              <a:t>– the set of classification to be applied during a scan.</a:t>
            </a:r>
            <a:br>
              <a:rPr lang="en-US" dirty="0"/>
            </a:br>
            <a:r>
              <a:rPr lang="en-US" dirty="0"/>
              <a:t>                        Note - A </a:t>
            </a:r>
            <a:r>
              <a:rPr lang="en-US" b="1" dirty="0">
                <a:solidFill>
                  <a:srgbClr val="00B050"/>
                </a:solidFill>
              </a:rPr>
              <a:t>scan rule set</a:t>
            </a:r>
            <a:r>
              <a:rPr lang="en-US" dirty="0"/>
              <a:t> is tied to a specific source type.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7D09536-7B91-C177-3CCA-F2D69C1EDFE3}"/>
              </a:ext>
            </a:extLst>
          </p:cNvPr>
          <p:cNvSpPr txBox="1"/>
          <p:nvPr/>
        </p:nvSpPr>
        <p:spPr>
          <a:xfrm>
            <a:off x="1125542" y="4415561"/>
            <a:ext cx="4067139" cy="369332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00B050"/>
                </a:solidFill>
              </a:rPr>
              <a:t>Classification</a:t>
            </a:r>
            <a:r>
              <a:rPr lang="en-US" dirty="0"/>
              <a:t> – the classification </a:t>
            </a:r>
            <a:r>
              <a:rPr lang="en-US" i="1" dirty="0"/>
              <a:t>header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DEB3D19-0D0F-068E-C0CA-874627AF7E51}"/>
              </a:ext>
            </a:extLst>
          </p:cNvPr>
          <p:cNvSpPr txBox="1"/>
          <p:nvPr/>
        </p:nvSpPr>
        <p:spPr>
          <a:xfrm>
            <a:off x="1125542" y="5610541"/>
            <a:ext cx="7756995" cy="369332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00B050"/>
                </a:solidFill>
              </a:rPr>
              <a:t>Classification rule </a:t>
            </a:r>
            <a:r>
              <a:rPr lang="en-US" dirty="0"/>
              <a:t>– the specific technical rule(s) to be applied during the scan</a:t>
            </a:r>
          </a:p>
        </p:txBody>
      </p:sp>
      <p:sp>
        <p:nvSpPr>
          <p:cNvPr id="7" name="Down Arrow 6">
            <a:extLst>
              <a:ext uri="{FF2B5EF4-FFF2-40B4-BE49-F238E27FC236}">
                <a16:creationId xmlns:a16="http://schemas.microsoft.com/office/drawing/2014/main" id="{13F4E7FC-A663-FF74-CF07-BB08BB23F8EB}"/>
              </a:ext>
            </a:extLst>
          </p:cNvPr>
          <p:cNvSpPr/>
          <p:nvPr/>
        </p:nvSpPr>
        <p:spPr>
          <a:xfrm>
            <a:off x="1668764" y="3699696"/>
            <a:ext cx="326701" cy="699857"/>
          </a:xfrm>
          <a:prstGeom prst="downArrow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Down Arrow 7">
            <a:extLst>
              <a:ext uri="{FF2B5EF4-FFF2-40B4-BE49-F238E27FC236}">
                <a16:creationId xmlns:a16="http://schemas.microsoft.com/office/drawing/2014/main" id="{F9D2BF6F-DB71-B2D4-9D03-C1AD0DC8753B}"/>
              </a:ext>
            </a:extLst>
          </p:cNvPr>
          <p:cNvSpPr/>
          <p:nvPr/>
        </p:nvSpPr>
        <p:spPr>
          <a:xfrm>
            <a:off x="1672682" y="4896839"/>
            <a:ext cx="326701" cy="699857"/>
          </a:xfrm>
          <a:prstGeom prst="downArrow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4669099-9D35-5EF8-DC46-5FE8A2CD751E}"/>
              </a:ext>
            </a:extLst>
          </p:cNvPr>
          <p:cNvSpPr txBox="1"/>
          <p:nvPr/>
        </p:nvSpPr>
        <p:spPr>
          <a:xfrm>
            <a:off x="1861961" y="3864238"/>
            <a:ext cx="129715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/>
              <a:t>Has one or mor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02ADC92-D2E5-F380-F673-699D591E2E0B}"/>
              </a:ext>
            </a:extLst>
          </p:cNvPr>
          <p:cNvSpPr txBox="1"/>
          <p:nvPr/>
        </p:nvSpPr>
        <p:spPr>
          <a:xfrm>
            <a:off x="1861961" y="5059217"/>
            <a:ext cx="129715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/>
              <a:t>Has one or more</a:t>
            </a:r>
          </a:p>
        </p:txBody>
      </p:sp>
    </p:spTree>
    <p:extLst>
      <p:ext uri="{BB962C8B-B14F-4D97-AF65-F5344CB8AC3E}">
        <p14:creationId xmlns:p14="http://schemas.microsoft.com/office/powerpoint/2010/main" val="3358562811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83028B5-65DB-CA09-FB55-4149EE3897C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AB2806F9-AD64-F668-3BDE-85D323B552D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6420" y="1556567"/>
            <a:ext cx="7772400" cy="4756878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A2156502-6885-BE78-9326-78C5FD91920C}"/>
              </a:ext>
            </a:extLst>
          </p:cNvPr>
          <p:cNvSpPr txBox="1"/>
          <p:nvPr/>
        </p:nvSpPr>
        <p:spPr>
          <a:xfrm>
            <a:off x="392951" y="589919"/>
            <a:ext cx="768062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00B050"/>
                </a:solidFill>
              </a:rPr>
              <a:t>Classification</a:t>
            </a:r>
            <a:r>
              <a:rPr lang="en-US" dirty="0"/>
              <a:t> – Setup </a:t>
            </a:r>
            <a:r>
              <a:rPr lang="en-US" b="1" dirty="0">
                <a:solidFill>
                  <a:schemeClr val="accent1">
                    <a:lumMod val="50000"/>
                  </a:schemeClr>
                </a:solidFill>
              </a:rPr>
              <a:t>Scan Rule</a:t>
            </a:r>
            <a:r>
              <a:rPr lang="en-US" dirty="0"/>
              <a:t> </a:t>
            </a:r>
            <a:r>
              <a:rPr lang="en-US" b="1" dirty="0">
                <a:solidFill>
                  <a:schemeClr val="accent1">
                    <a:lumMod val="50000"/>
                  </a:schemeClr>
                </a:solidFill>
              </a:rPr>
              <a:t>sets</a:t>
            </a:r>
            <a:r>
              <a:rPr lang="en-US" dirty="0"/>
              <a:t> for the scan of </a:t>
            </a:r>
            <a:r>
              <a:rPr lang="en-US" b="1" dirty="0">
                <a:solidFill>
                  <a:schemeClr val="accent1">
                    <a:lumMod val="50000"/>
                  </a:schemeClr>
                </a:solidFill>
              </a:rPr>
              <a:t>sources</a:t>
            </a:r>
            <a:r>
              <a:rPr lang="en-US" dirty="0"/>
              <a:t> in the </a:t>
            </a:r>
            <a:r>
              <a:rPr lang="en-US" b="1" dirty="0">
                <a:solidFill>
                  <a:schemeClr val="accent1">
                    <a:lumMod val="50000"/>
                  </a:schemeClr>
                </a:solidFill>
              </a:rPr>
              <a:t>Data Map</a:t>
            </a:r>
            <a:r>
              <a:rPr lang="en-US" dirty="0"/>
              <a:t>.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90A13899-6CF0-2C0B-2511-00258234ECA9}"/>
              </a:ext>
            </a:extLst>
          </p:cNvPr>
          <p:cNvSpPr txBox="1"/>
          <p:nvPr/>
        </p:nvSpPr>
        <p:spPr>
          <a:xfrm>
            <a:off x="7425008" y="2228671"/>
            <a:ext cx="4109316" cy="2123658"/>
          </a:xfrm>
          <a:prstGeom prst="rect">
            <a:avLst/>
          </a:prstGeom>
          <a:solidFill>
            <a:srgbClr val="FFFDF9">
              <a:alpha val="75000"/>
            </a:srgbClr>
          </a:solidFill>
        </p:spPr>
        <p:txBody>
          <a:bodyPr wrap="square" rtlCol="0">
            <a:spAutoFit/>
          </a:bodyPr>
          <a:lstStyle/>
          <a:p>
            <a:r>
              <a:rPr lang="en-US" dirty="0"/>
              <a:t>The </a:t>
            </a:r>
            <a:r>
              <a:rPr lang="en-US" b="1" dirty="0">
                <a:solidFill>
                  <a:schemeClr val="accent1">
                    <a:lumMod val="50000"/>
                  </a:schemeClr>
                </a:solidFill>
              </a:rPr>
              <a:t>scans</a:t>
            </a:r>
            <a:r>
              <a:rPr lang="en-US" dirty="0"/>
              <a:t> relies on </a:t>
            </a:r>
            <a:r>
              <a:rPr lang="en-US" b="1" u="sng" dirty="0">
                <a:solidFill>
                  <a:schemeClr val="accent1">
                    <a:lumMod val="50000"/>
                  </a:schemeClr>
                </a:solidFill>
              </a:rPr>
              <a:t>Scan Rule sets</a:t>
            </a:r>
            <a:r>
              <a:rPr lang="en-US" b="1" u="sng" dirty="0"/>
              <a:t> </a:t>
            </a:r>
            <a:r>
              <a:rPr lang="en-US" dirty="0"/>
              <a:t>to find, and mark classified information when registering the </a:t>
            </a:r>
            <a:r>
              <a:rPr lang="en-US" b="1" dirty="0">
                <a:solidFill>
                  <a:schemeClr val="accent1">
                    <a:lumMod val="50000"/>
                  </a:schemeClr>
                </a:solidFill>
              </a:rPr>
              <a:t>data assets</a:t>
            </a:r>
          </a:p>
          <a:p>
            <a:endParaRPr lang="en-US" dirty="0"/>
          </a:p>
          <a:p>
            <a:r>
              <a:rPr lang="en-US" dirty="0"/>
              <a:t>Note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A scan rule set belongs to a </a:t>
            </a:r>
            <a:r>
              <a:rPr lang="en-US" sz="1400" u="sng" dirty="0"/>
              <a:t>technology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A list of sources and how to configure them</a:t>
            </a:r>
            <a:br>
              <a:rPr lang="en-US" sz="1400" dirty="0"/>
            </a:br>
            <a:r>
              <a:rPr lang="en-US" sz="1400" dirty="0"/>
              <a:t>can be found </a:t>
            </a:r>
            <a:r>
              <a:rPr lang="en-US" sz="1400" dirty="0">
                <a:hlinkClick r:id="rId3"/>
              </a:rPr>
              <a:t>here</a:t>
            </a:r>
            <a:r>
              <a:rPr lang="en-US" sz="1400" dirty="0"/>
              <a:t>.</a:t>
            </a:r>
          </a:p>
        </p:txBody>
      </p:sp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FEA22F64-FBAC-386B-0444-D18F4091F5DF}"/>
              </a:ext>
            </a:extLst>
          </p:cNvPr>
          <p:cNvCxnSpPr>
            <a:cxnSpLocks/>
          </p:cNvCxnSpPr>
          <p:nvPr/>
        </p:nvCxnSpPr>
        <p:spPr>
          <a:xfrm flipH="1">
            <a:off x="1088020" y="2526384"/>
            <a:ext cx="8329357" cy="487920"/>
          </a:xfrm>
          <a:prstGeom prst="straightConnector1">
            <a:avLst/>
          </a:prstGeom>
          <a:ln w="25400">
            <a:solidFill>
              <a:srgbClr val="FF0000">
                <a:alpha val="50000"/>
              </a:srgb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9989F141-B75C-1713-339E-E746F73A1A0C}"/>
              </a:ext>
            </a:extLst>
          </p:cNvPr>
          <p:cNvCxnSpPr>
            <a:cxnSpLocks/>
          </p:cNvCxnSpPr>
          <p:nvPr/>
        </p:nvCxnSpPr>
        <p:spPr>
          <a:xfrm flipH="1" flipV="1">
            <a:off x="6192456" y="3428999"/>
            <a:ext cx="3762249" cy="414698"/>
          </a:xfrm>
          <a:prstGeom prst="straightConnector1">
            <a:avLst/>
          </a:prstGeom>
          <a:ln w="25400">
            <a:solidFill>
              <a:srgbClr val="FF0000">
                <a:alpha val="50000"/>
              </a:srgb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AE487D24-3352-2023-30B2-94FBB3B5BE59}"/>
              </a:ext>
            </a:extLst>
          </p:cNvPr>
          <p:cNvCxnSpPr>
            <a:cxnSpLocks/>
          </p:cNvCxnSpPr>
          <p:nvPr/>
        </p:nvCxnSpPr>
        <p:spPr>
          <a:xfrm>
            <a:off x="11194648" y="4256588"/>
            <a:ext cx="0" cy="0"/>
          </a:xfrm>
          <a:prstGeom prst="line">
            <a:avLst/>
          </a:prstGeom>
          <a:ln w="25400">
            <a:solidFill>
              <a:srgbClr val="FF0000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16">
            <a:extLst>
              <a:ext uri="{FF2B5EF4-FFF2-40B4-BE49-F238E27FC236}">
                <a16:creationId xmlns:a16="http://schemas.microsoft.com/office/drawing/2014/main" id="{EED07E6F-CC02-0533-8834-CB7736323898}"/>
              </a:ext>
            </a:extLst>
          </p:cNvPr>
          <p:cNvSpPr txBox="1"/>
          <p:nvPr/>
        </p:nvSpPr>
        <p:spPr>
          <a:xfrm>
            <a:off x="106100" y="6331848"/>
            <a:ext cx="141018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>
                <a:solidFill>
                  <a:schemeClr val="accent1">
                    <a:lumMod val="50000"/>
                  </a:schemeClr>
                </a:solidFill>
              </a:rPr>
              <a:t>Data Map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7189148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U-Turn Arrow 22">
            <a:extLst>
              <a:ext uri="{FF2B5EF4-FFF2-40B4-BE49-F238E27FC236}">
                <a16:creationId xmlns:a16="http://schemas.microsoft.com/office/drawing/2014/main" id="{45D074B9-75A7-CA3B-2F60-9E20BDC04D12}"/>
              </a:ext>
            </a:extLst>
          </p:cNvPr>
          <p:cNvSpPr/>
          <p:nvPr/>
        </p:nvSpPr>
        <p:spPr>
          <a:xfrm rot="5400000" flipV="1">
            <a:off x="247984" y="4148516"/>
            <a:ext cx="1828796" cy="932685"/>
          </a:xfrm>
          <a:prstGeom prst="uturnArrow">
            <a:avLst>
              <a:gd name="adj1" fmla="val 17157"/>
              <a:gd name="adj2" fmla="val 15686"/>
              <a:gd name="adj3" fmla="val 24020"/>
              <a:gd name="adj4" fmla="val 43750"/>
              <a:gd name="adj5" fmla="val 75000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DBD431AD-AF7B-319E-2906-58D8681FBBBE}"/>
              </a:ext>
            </a:extLst>
          </p:cNvPr>
          <p:cNvSpPr txBox="1"/>
          <p:nvPr/>
        </p:nvSpPr>
        <p:spPr>
          <a:xfrm>
            <a:off x="595223" y="422694"/>
            <a:ext cx="236936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The Purview “Process”</a:t>
            </a:r>
          </a:p>
        </p:txBody>
      </p:sp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7F4E9549-AFE9-D4DE-5162-4DCA67AFC2F8}"/>
              </a:ext>
            </a:extLst>
          </p:cNvPr>
          <p:cNvSpPr/>
          <p:nvPr/>
        </p:nvSpPr>
        <p:spPr>
          <a:xfrm>
            <a:off x="1162383" y="4069466"/>
            <a:ext cx="1063913" cy="241540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/>
              <a:t>Scan</a:t>
            </a:r>
          </a:p>
        </p:txBody>
      </p:sp>
      <p:sp>
        <p:nvSpPr>
          <p:cNvPr id="5" name="Rounded Rectangle 4">
            <a:extLst>
              <a:ext uri="{FF2B5EF4-FFF2-40B4-BE49-F238E27FC236}">
                <a16:creationId xmlns:a16="http://schemas.microsoft.com/office/drawing/2014/main" id="{2757BD0E-6046-498C-00AB-DECFABF21107}"/>
              </a:ext>
            </a:extLst>
          </p:cNvPr>
          <p:cNvSpPr/>
          <p:nvPr/>
        </p:nvSpPr>
        <p:spPr>
          <a:xfrm>
            <a:off x="2496614" y="4078092"/>
            <a:ext cx="1063913" cy="241540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/>
              <a:t>API</a:t>
            </a:r>
          </a:p>
        </p:txBody>
      </p:sp>
      <p:sp>
        <p:nvSpPr>
          <p:cNvPr id="7" name="Rounded Rectangle 6">
            <a:extLst>
              <a:ext uri="{FF2B5EF4-FFF2-40B4-BE49-F238E27FC236}">
                <a16:creationId xmlns:a16="http://schemas.microsoft.com/office/drawing/2014/main" id="{03D14DD5-1818-DC01-17AE-ABF37E6526C5}"/>
              </a:ext>
            </a:extLst>
          </p:cNvPr>
          <p:cNvSpPr/>
          <p:nvPr/>
        </p:nvSpPr>
        <p:spPr>
          <a:xfrm>
            <a:off x="1389552" y="4456446"/>
            <a:ext cx="2214124" cy="1828797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Enhance assets</a:t>
            </a:r>
          </a:p>
          <a:p>
            <a:pPr algn="ctr"/>
            <a:endParaRPr lang="en-US" sz="70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/>
              <a:t>Descriptions (scan?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/>
              <a:t>Owner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/>
              <a:t>Lineage (scan?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/>
              <a:t>Glossarie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/>
              <a:t>Classification (scan?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/>
              <a:t>Sensitivity</a:t>
            </a:r>
          </a:p>
        </p:txBody>
      </p:sp>
      <p:sp>
        <p:nvSpPr>
          <p:cNvPr id="8" name="Rounded Rectangle 7">
            <a:extLst>
              <a:ext uri="{FF2B5EF4-FFF2-40B4-BE49-F238E27FC236}">
                <a16:creationId xmlns:a16="http://schemas.microsoft.com/office/drawing/2014/main" id="{EFF4811E-EB31-25AF-6039-9858AF91489E}"/>
              </a:ext>
            </a:extLst>
          </p:cNvPr>
          <p:cNvSpPr/>
          <p:nvPr/>
        </p:nvSpPr>
        <p:spPr>
          <a:xfrm>
            <a:off x="1162382" y="1763504"/>
            <a:ext cx="2398144" cy="431321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Establish Domains</a:t>
            </a:r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999F0984-8DF3-B196-27BD-BF347BEFB621}"/>
              </a:ext>
            </a:extLst>
          </p:cNvPr>
          <p:cNvSpPr/>
          <p:nvPr/>
        </p:nvSpPr>
        <p:spPr>
          <a:xfrm>
            <a:off x="1162382" y="2360333"/>
            <a:ext cx="2398144" cy="431321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Establish Collections</a:t>
            </a:r>
          </a:p>
        </p:txBody>
      </p:sp>
      <p:sp>
        <p:nvSpPr>
          <p:cNvPr id="10" name="Rounded Rectangle 9">
            <a:extLst>
              <a:ext uri="{FF2B5EF4-FFF2-40B4-BE49-F238E27FC236}">
                <a16:creationId xmlns:a16="http://schemas.microsoft.com/office/drawing/2014/main" id="{A6F724D0-81FD-CC25-DC48-17572C35D967}"/>
              </a:ext>
            </a:extLst>
          </p:cNvPr>
          <p:cNvSpPr/>
          <p:nvPr/>
        </p:nvSpPr>
        <p:spPr>
          <a:xfrm>
            <a:off x="1133606" y="2943722"/>
            <a:ext cx="2398144" cy="431321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Register Sources</a:t>
            </a:r>
          </a:p>
        </p:txBody>
      </p:sp>
      <p:sp>
        <p:nvSpPr>
          <p:cNvPr id="11" name="Down Arrow 10">
            <a:extLst>
              <a:ext uri="{FF2B5EF4-FFF2-40B4-BE49-F238E27FC236}">
                <a16:creationId xmlns:a16="http://schemas.microsoft.com/office/drawing/2014/main" id="{4F453E81-CE09-5A39-06A3-CC41272FA766}"/>
              </a:ext>
            </a:extLst>
          </p:cNvPr>
          <p:cNvSpPr/>
          <p:nvPr/>
        </p:nvSpPr>
        <p:spPr>
          <a:xfrm>
            <a:off x="2226296" y="2194825"/>
            <a:ext cx="135158" cy="165508"/>
          </a:xfrm>
          <a:prstGeom prst="downArrow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Down Arrow 11">
            <a:extLst>
              <a:ext uri="{FF2B5EF4-FFF2-40B4-BE49-F238E27FC236}">
                <a16:creationId xmlns:a16="http://schemas.microsoft.com/office/drawing/2014/main" id="{0995F144-A410-ED74-AEDD-4E93F7DB15DE}"/>
              </a:ext>
            </a:extLst>
          </p:cNvPr>
          <p:cNvSpPr/>
          <p:nvPr/>
        </p:nvSpPr>
        <p:spPr>
          <a:xfrm>
            <a:off x="2217669" y="2778214"/>
            <a:ext cx="135158" cy="165508"/>
          </a:xfrm>
          <a:prstGeom prst="downArrow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Down Arrow 13">
            <a:extLst>
              <a:ext uri="{FF2B5EF4-FFF2-40B4-BE49-F238E27FC236}">
                <a16:creationId xmlns:a16="http://schemas.microsoft.com/office/drawing/2014/main" id="{1C0AAEAB-E2E8-8945-D08F-511BFE6B6D72}"/>
              </a:ext>
            </a:extLst>
          </p:cNvPr>
          <p:cNvSpPr/>
          <p:nvPr/>
        </p:nvSpPr>
        <p:spPr>
          <a:xfrm>
            <a:off x="2211908" y="3375043"/>
            <a:ext cx="135158" cy="165508"/>
          </a:xfrm>
          <a:prstGeom prst="downArrow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ounded Rectangle 14">
            <a:extLst>
              <a:ext uri="{FF2B5EF4-FFF2-40B4-BE49-F238E27FC236}">
                <a16:creationId xmlns:a16="http://schemas.microsoft.com/office/drawing/2014/main" id="{0BACBC5B-5ECD-4784-DFD8-15CEDA01B923}"/>
              </a:ext>
            </a:extLst>
          </p:cNvPr>
          <p:cNvSpPr/>
          <p:nvPr/>
        </p:nvSpPr>
        <p:spPr>
          <a:xfrm>
            <a:off x="6663160" y="1678904"/>
            <a:ext cx="2691384" cy="598675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>
                <a:solidFill>
                  <a:srgbClr val="FFFDF9"/>
                </a:solidFill>
              </a:rPr>
              <a:t>Establish Governance Domains</a:t>
            </a:r>
          </a:p>
        </p:txBody>
      </p:sp>
      <p:sp>
        <p:nvSpPr>
          <p:cNvPr id="16" name="Rounded Rectangle 15">
            <a:extLst>
              <a:ext uri="{FF2B5EF4-FFF2-40B4-BE49-F238E27FC236}">
                <a16:creationId xmlns:a16="http://schemas.microsoft.com/office/drawing/2014/main" id="{2A1A502C-F0DF-7D06-C6EB-F4B90FD15492}"/>
              </a:ext>
            </a:extLst>
          </p:cNvPr>
          <p:cNvSpPr/>
          <p:nvPr/>
        </p:nvSpPr>
        <p:spPr>
          <a:xfrm>
            <a:off x="6663160" y="2478877"/>
            <a:ext cx="2691384" cy="431322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>
                <a:solidFill>
                  <a:srgbClr val="FFFDF9"/>
                </a:solidFill>
              </a:rPr>
              <a:t>Establish Data Products</a:t>
            </a:r>
          </a:p>
        </p:txBody>
      </p:sp>
      <p:sp>
        <p:nvSpPr>
          <p:cNvPr id="17" name="Down Arrow 16">
            <a:extLst>
              <a:ext uri="{FF2B5EF4-FFF2-40B4-BE49-F238E27FC236}">
                <a16:creationId xmlns:a16="http://schemas.microsoft.com/office/drawing/2014/main" id="{0CC05C15-4418-DDBE-6C81-ED0823EB1D2C}"/>
              </a:ext>
            </a:extLst>
          </p:cNvPr>
          <p:cNvSpPr/>
          <p:nvPr/>
        </p:nvSpPr>
        <p:spPr>
          <a:xfrm>
            <a:off x="7941273" y="2277579"/>
            <a:ext cx="135158" cy="201298"/>
          </a:xfrm>
          <a:prstGeom prst="down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ounded Rectangle 17">
            <a:extLst>
              <a:ext uri="{FF2B5EF4-FFF2-40B4-BE49-F238E27FC236}">
                <a16:creationId xmlns:a16="http://schemas.microsoft.com/office/drawing/2014/main" id="{30D0A6CB-59AB-74E8-0002-49F1009ECE10}"/>
              </a:ext>
            </a:extLst>
          </p:cNvPr>
          <p:cNvSpPr/>
          <p:nvPr/>
        </p:nvSpPr>
        <p:spPr>
          <a:xfrm>
            <a:off x="6663160" y="3111497"/>
            <a:ext cx="2691384" cy="843804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rgbClr val="FFFDF9"/>
                </a:solidFill>
              </a:rPr>
              <a:t>Connect </a:t>
            </a:r>
            <a:r>
              <a:rPr lang="en-US" b="1" i="1" u="sng" dirty="0">
                <a:solidFill>
                  <a:srgbClr val="FFFF00"/>
                </a:solidFill>
              </a:rPr>
              <a:t>assets</a:t>
            </a:r>
            <a:r>
              <a:rPr lang="en-US" dirty="0">
                <a:solidFill>
                  <a:srgbClr val="FFFDF9"/>
                </a:solidFill>
              </a:rPr>
              <a:t> to Data Products -&gt; Governed assets</a:t>
            </a:r>
          </a:p>
        </p:txBody>
      </p:sp>
      <p:sp>
        <p:nvSpPr>
          <p:cNvPr id="19" name="Down Arrow 18">
            <a:extLst>
              <a:ext uri="{FF2B5EF4-FFF2-40B4-BE49-F238E27FC236}">
                <a16:creationId xmlns:a16="http://schemas.microsoft.com/office/drawing/2014/main" id="{4B7DFA29-CDB8-269A-A23C-FC17A1FB2E2B}"/>
              </a:ext>
            </a:extLst>
          </p:cNvPr>
          <p:cNvSpPr/>
          <p:nvPr/>
        </p:nvSpPr>
        <p:spPr>
          <a:xfrm>
            <a:off x="7941273" y="2914266"/>
            <a:ext cx="135158" cy="201298"/>
          </a:xfrm>
          <a:prstGeom prst="down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ounded Rectangle 19">
            <a:extLst>
              <a:ext uri="{FF2B5EF4-FFF2-40B4-BE49-F238E27FC236}">
                <a16:creationId xmlns:a16="http://schemas.microsoft.com/office/drawing/2014/main" id="{99DC9B95-4F77-A7F4-944C-F16E09840C05}"/>
              </a:ext>
            </a:extLst>
          </p:cNvPr>
          <p:cNvSpPr/>
          <p:nvPr/>
        </p:nvSpPr>
        <p:spPr>
          <a:xfrm>
            <a:off x="6901790" y="4431775"/>
            <a:ext cx="2214124" cy="1828797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>
                <a:solidFill>
                  <a:srgbClr val="FFFDF9"/>
                </a:solidFill>
              </a:rPr>
              <a:t>Enhance data product</a:t>
            </a:r>
          </a:p>
          <a:p>
            <a:pPr algn="ctr"/>
            <a:endParaRPr lang="en-US" sz="700">
              <a:solidFill>
                <a:srgbClr val="FFFDF9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>
                <a:solidFill>
                  <a:srgbClr val="FFFDF9"/>
                </a:solidFill>
              </a:rPr>
              <a:t>Owner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>
                <a:solidFill>
                  <a:srgbClr val="FFFDF9"/>
                </a:solidFill>
              </a:rPr>
              <a:t>Glossarie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200">
              <a:solidFill>
                <a:srgbClr val="FFFDF9"/>
              </a:solidFill>
            </a:endParaRPr>
          </a:p>
        </p:txBody>
      </p:sp>
      <p:sp>
        <p:nvSpPr>
          <p:cNvPr id="21" name="Down Arrow 20">
            <a:extLst>
              <a:ext uri="{FF2B5EF4-FFF2-40B4-BE49-F238E27FC236}">
                <a16:creationId xmlns:a16="http://schemas.microsoft.com/office/drawing/2014/main" id="{AFA5368D-4492-30C0-2E8E-D0C86FAFA2BA}"/>
              </a:ext>
            </a:extLst>
          </p:cNvPr>
          <p:cNvSpPr/>
          <p:nvPr/>
        </p:nvSpPr>
        <p:spPr>
          <a:xfrm>
            <a:off x="7873694" y="3951233"/>
            <a:ext cx="135158" cy="480541"/>
          </a:xfrm>
          <a:prstGeom prst="down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Rounded Rectangle 2">
            <a:extLst>
              <a:ext uri="{FF2B5EF4-FFF2-40B4-BE49-F238E27FC236}">
                <a16:creationId xmlns:a16="http://schemas.microsoft.com/office/drawing/2014/main" id="{AAEDCD3A-3026-2C14-E443-A2F5D398E477}"/>
              </a:ext>
            </a:extLst>
          </p:cNvPr>
          <p:cNvSpPr/>
          <p:nvPr/>
        </p:nvSpPr>
        <p:spPr>
          <a:xfrm>
            <a:off x="1162383" y="3587988"/>
            <a:ext cx="2398144" cy="431321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Establish </a:t>
            </a:r>
            <a:r>
              <a:rPr lang="en-US" b="1" i="1" u="sng" dirty="0">
                <a:solidFill>
                  <a:srgbClr val="FFFF00"/>
                </a:solidFill>
              </a:rPr>
              <a:t>assets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D5C0A37A-E1BA-5B93-4E9E-998F27F3633C}"/>
              </a:ext>
            </a:extLst>
          </p:cNvPr>
          <p:cNvSpPr/>
          <p:nvPr/>
        </p:nvSpPr>
        <p:spPr>
          <a:xfrm>
            <a:off x="4589776" y="1678904"/>
            <a:ext cx="495946" cy="458166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rtlCol="0" anchor="ctr"/>
          <a:lstStyle/>
          <a:p>
            <a:pPr algn="ctr"/>
            <a:r>
              <a:rPr lang="en-US" sz="2400"/>
              <a:t>Data Map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0AF0949D-FDDD-BB2F-5DFE-3F22CC9E4BC2}"/>
              </a:ext>
            </a:extLst>
          </p:cNvPr>
          <p:cNvSpPr/>
          <p:nvPr/>
        </p:nvSpPr>
        <p:spPr>
          <a:xfrm>
            <a:off x="5134394" y="1672579"/>
            <a:ext cx="495946" cy="458166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en-US" sz="2400">
                <a:solidFill>
                  <a:srgbClr val="FFFDF9"/>
                </a:solidFill>
              </a:rPr>
              <a:t>Unified Catalog</a:t>
            </a:r>
          </a:p>
        </p:txBody>
      </p:sp>
      <p:sp>
        <p:nvSpPr>
          <p:cNvPr id="27" name="Down Arrow 26">
            <a:extLst>
              <a:ext uri="{FF2B5EF4-FFF2-40B4-BE49-F238E27FC236}">
                <a16:creationId xmlns:a16="http://schemas.microsoft.com/office/drawing/2014/main" id="{036C2D18-8C7D-949B-5A6C-6C69A4B43310}"/>
              </a:ext>
            </a:extLst>
          </p:cNvPr>
          <p:cNvSpPr/>
          <p:nvPr/>
        </p:nvSpPr>
        <p:spPr>
          <a:xfrm rot="5400000">
            <a:off x="4011726" y="3709733"/>
            <a:ext cx="789248" cy="507358"/>
          </a:xfrm>
          <a:prstGeom prst="downArrow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Down Arrow 27">
            <a:extLst>
              <a:ext uri="{FF2B5EF4-FFF2-40B4-BE49-F238E27FC236}">
                <a16:creationId xmlns:a16="http://schemas.microsoft.com/office/drawing/2014/main" id="{17FAB29D-881E-F9C1-712E-EFFA0A84AFAE}"/>
              </a:ext>
            </a:extLst>
          </p:cNvPr>
          <p:cNvSpPr/>
          <p:nvPr/>
        </p:nvSpPr>
        <p:spPr>
          <a:xfrm rot="16200000">
            <a:off x="5459587" y="3728933"/>
            <a:ext cx="789248" cy="507358"/>
          </a:xfrm>
          <a:prstGeom prst="down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0520237A-5E3A-D22C-DBCA-2373B7D4E0EF}"/>
              </a:ext>
            </a:extLst>
          </p:cNvPr>
          <p:cNvSpPr/>
          <p:nvPr/>
        </p:nvSpPr>
        <p:spPr>
          <a:xfrm>
            <a:off x="1105980" y="974532"/>
            <a:ext cx="2398144" cy="431321"/>
          </a:xfrm>
          <a:prstGeom prst="round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Installation</a:t>
            </a:r>
          </a:p>
        </p:txBody>
      </p:sp>
      <p:sp>
        <p:nvSpPr>
          <p:cNvPr id="13" name="Down Arrow 12">
            <a:extLst>
              <a:ext uri="{FF2B5EF4-FFF2-40B4-BE49-F238E27FC236}">
                <a16:creationId xmlns:a16="http://schemas.microsoft.com/office/drawing/2014/main" id="{11155FCA-3E6F-4E4E-A836-B3A5F2AB7D09}"/>
              </a:ext>
            </a:extLst>
          </p:cNvPr>
          <p:cNvSpPr/>
          <p:nvPr/>
        </p:nvSpPr>
        <p:spPr>
          <a:xfrm rot="10800000" flipH="1" flipV="1">
            <a:off x="2173747" y="1338903"/>
            <a:ext cx="262609" cy="431321"/>
          </a:xfrm>
          <a:prstGeom prst="downArrow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671B53FC-A64E-A070-367B-A4FC1572251B}"/>
              </a:ext>
            </a:extLst>
          </p:cNvPr>
          <p:cNvCxnSpPr>
            <a:cxnSpLocks/>
          </p:cNvCxnSpPr>
          <p:nvPr/>
        </p:nvCxnSpPr>
        <p:spPr>
          <a:xfrm flipH="1">
            <a:off x="3082565" y="3375043"/>
            <a:ext cx="4656841" cy="499373"/>
          </a:xfrm>
          <a:prstGeom prst="straightConnector1">
            <a:avLst/>
          </a:prstGeom>
          <a:ln w="25400">
            <a:solidFill>
              <a:srgbClr val="FF0000">
                <a:alpha val="50000"/>
              </a:srgb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93374601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00A6A0C-51BE-D712-7C70-035CDF0E261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185CDA6C-92C4-2237-7C80-30C4140137A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1884" y="1522388"/>
            <a:ext cx="7772400" cy="4756878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30408898-E383-97C9-3033-0D616ED2F83A}"/>
              </a:ext>
            </a:extLst>
          </p:cNvPr>
          <p:cNvSpPr txBox="1"/>
          <p:nvPr/>
        </p:nvSpPr>
        <p:spPr>
          <a:xfrm>
            <a:off x="601884" y="578734"/>
            <a:ext cx="671882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00B050"/>
                </a:solidFill>
              </a:rPr>
              <a:t>Classification</a:t>
            </a:r>
            <a:r>
              <a:rPr lang="en-US" dirty="0"/>
              <a:t> –</a:t>
            </a:r>
            <a:r>
              <a:rPr lang="en-US" b="1" dirty="0">
                <a:solidFill>
                  <a:schemeClr val="accent1">
                    <a:lumMod val="50000"/>
                  </a:schemeClr>
                </a:solidFill>
              </a:rPr>
              <a:t>Scan Rule</a:t>
            </a:r>
            <a:r>
              <a:rPr lang="en-US" dirty="0"/>
              <a:t> </a:t>
            </a:r>
            <a:r>
              <a:rPr lang="en-US" b="1" dirty="0">
                <a:solidFill>
                  <a:schemeClr val="accent1">
                    <a:lumMod val="50000"/>
                  </a:schemeClr>
                </a:solidFill>
              </a:rPr>
              <a:t>sets</a:t>
            </a:r>
            <a:r>
              <a:rPr lang="en-US" dirty="0"/>
              <a:t> consists of one or more </a:t>
            </a:r>
            <a:r>
              <a:rPr lang="en-US" b="1" dirty="0">
                <a:solidFill>
                  <a:schemeClr val="accent1">
                    <a:lumMod val="50000"/>
                  </a:schemeClr>
                </a:solidFill>
              </a:rPr>
              <a:t>classification</a:t>
            </a:r>
            <a:r>
              <a:rPr lang="en-US" dirty="0"/>
              <a:t>.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DC5153-5DDE-36EA-AF8C-FC3461BE60B9}"/>
              </a:ext>
            </a:extLst>
          </p:cNvPr>
          <p:cNvSpPr txBox="1"/>
          <p:nvPr/>
        </p:nvSpPr>
        <p:spPr>
          <a:xfrm>
            <a:off x="7425008" y="2228671"/>
            <a:ext cx="4109316" cy="1631216"/>
          </a:xfrm>
          <a:prstGeom prst="rect">
            <a:avLst/>
          </a:prstGeom>
          <a:solidFill>
            <a:srgbClr val="FFFDF9">
              <a:alpha val="75000"/>
            </a:srgbClr>
          </a:solidFill>
        </p:spPr>
        <p:txBody>
          <a:bodyPr wrap="square" rtlCol="0">
            <a:spAutoFit/>
          </a:bodyPr>
          <a:lstStyle/>
          <a:p>
            <a:r>
              <a:rPr lang="en-US" dirty="0"/>
              <a:t>The </a:t>
            </a:r>
            <a:r>
              <a:rPr lang="en-US" b="1" u="sng" dirty="0">
                <a:solidFill>
                  <a:schemeClr val="accent1">
                    <a:lumMod val="50000"/>
                  </a:schemeClr>
                </a:solidFill>
              </a:rPr>
              <a:t>classifications</a:t>
            </a:r>
            <a:r>
              <a:rPr lang="en-US" dirty="0"/>
              <a:t> describes the different categories.</a:t>
            </a:r>
          </a:p>
          <a:p>
            <a:endParaRPr lang="en-US" dirty="0"/>
          </a:p>
          <a:p>
            <a:r>
              <a:rPr lang="en-US" dirty="0"/>
              <a:t>Note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 u="sng" dirty="0">
                <a:solidFill>
                  <a:schemeClr val="accent1">
                    <a:lumMod val="50000"/>
                  </a:schemeClr>
                </a:solidFill>
              </a:rPr>
              <a:t>Classifications</a:t>
            </a:r>
            <a:r>
              <a:rPr lang="en-US" sz="1400" dirty="0"/>
              <a:t> can either be build-in (</a:t>
            </a:r>
            <a:r>
              <a:rPr lang="en-US" sz="1400" b="1" dirty="0">
                <a:solidFill>
                  <a:schemeClr val="accent1">
                    <a:lumMod val="50000"/>
                  </a:schemeClr>
                </a:solidFill>
              </a:rPr>
              <a:t>System</a:t>
            </a:r>
            <a:r>
              <a:rPr lang="en-US" sz="1400" dirty="0"/>
              <a:t>) or </a:t>
            </a:r>
            <a:r>
              <a:rPr lang="en-US" sz="1400" b="1" dirty="0">
                <a:solidFill>
                  <a:schemeClr val="accent1">
                    <a:lumMod val="50000"/>
                  </a:schemeClr>
                </a:solidFill>
              </a:rPr>
              <a:t>custom</a:t>
            </a:r>
          </a:p>
        </p:txBody>
      </p:sp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09A4B805-1A27-22FD-61F0-0020BD16E98C}"/>
              </a:ext>
            </a:extLst>
          </p:cNvPr>
          <p:cNvCxnSpPr>
            <a:cxnSpLocks/>
          </p:cNvCxnSpPr>
          <p:nvPr/>
        </p:nvCxnSpPr>
        <p:spPr>
          <a:xfrm flipH="1">
            <a:off x="1446835" y="2498103"/>
            <a:ext cx="6499961" cy="1977046"/>
          </a:xfrm>
          <a:prstGeom prst="straightConnector1">
            <a:avLst/>
          </a:prstGeom>
          <a:ln w="25400">
            <a:solidFill>
              <a:srgbClr val="FF0000">
                <a:alpha val="50000"/>
              </a:srgb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63501CA4-45BA-1C77-E403-812210214EDF}"/>
              </a:ext>
            </a:extLst>
          </p:cNvPr>
          <p:cNvCxnSpPr>
            <a:cxnSpLocks/>
          </p:cNvCxnSpPr>
          <p:nvPr/>
        </p:nvCxnSpPr>
        <p:spPr>
          <a:xfrm flipH="1" flipV="1">
            <a:off x="2604304" y="2372810"/>
            <a:ext cx="5182236" cy="1133961"/>
          </a:xfrm>
          <a:prstGeom prst="straightConnector1">
            <a:avLst/>
          </a:prstGeom>
          <a:ln w="25400">
            <a:solidFill>
              <a:srgbClr val="FF0000">
                <a:alpha val="50000"/>
              </a:srgb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737DB651-6A92-5444-32F9-F6AF032F0532}"/>
              </a:ext>
            </a:extLst>
          </p:cNvPr>
          <p:cNvCxnSpPr>
            <a:cxnSpLocks/>
          </p:cNvCxnSpPr>
          <p:nvPr/>
        </p:nvCxnSpPr>
        <p:spPr>
          <a:xfrm>
            <a:off x="11194648" y="4256588"/>
            <a:ext cx="0" cy="0"/>
          </a:xfrm>
          <a:prstGeom prst="line">
            <a:avLst/>
          </a:prstGeom>
          <a:ln w="25400">
            <a:solidFill>
              <a:srgbClr val="FF0000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5BFE8D6E-2787-8590-46D7-75BFFEBE3A55}"/>
              </a:ext>
            </a:extLst>
          </p:cNvPr>
          <p:cNvSpPr txBox="1"/>
          <p:nvPr/>
        </p:nvSpPr>
        <p:spPr>
          <a:xfrm>
            <a:off x="106100" y="6331848"/>
            <a:ext cx="141018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>
                <a:solidFill>
                  <a:schemeClr val="accent1">
                    <a:lumMod val="50000"/>
                  </a:schemeClr>
                </a:solidFill>
              </a:rPr>
              <a:t>Data Map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69465756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8B820F7-BD72-674C-CEEC-13A83256D5B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82BC0637-3388-5061-C1B6-1D95D83B85F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7200" y="1522388"/>
            <a:ext cx="7772400" cy="4756878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A3CCCCE6-E4E3-9DAA-10E7-F365CD814594}"/>
              </a:ext>
            </a:extLst>
          </p:cNvPr>
          <p:cNvSpPr txBox="1"/>
          <p:nvPr/>
        </p:nvSpPr>
        <p:spPr>
          <a:xfrm>
            <a:off x="601884" y="578734"/>
            <a:ext cx="728148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00B050"/>
                </a:solidFill>
              </a:rPr>
              <a:t>Classification </a:t>
            </a:r>
            <a:r>
              <a:rPr lang="en-US" dirty="0"/>
              <a:t>– </a:t>
            </a:r>
            <a:r>
              <a:rPr lang="en-US" b="1" dirty="0">
                <a:solidFill>
                  <a:schemeClr val="accent1">
                    <a:lumMod val="50000"/>
                  </a:schemeClr>
                </a:solidFill>
              </a:rPr>
              <a:t>Classifications </a:t>
            </a:r>
            <a:r>
              <a:rPr lang="en-US" dirty="0"/>
              <a:t>consists of one or more </a:t>
            </a:r>
            <a:r>
              <a:rPr lang="en-US" b="1" dirty="0">
                <a:solidFill>
                  <a:schemeClr val="accent1">
                    <a:lumMod val="50000"/>
                  </a:schemeClr>
                </a:solidFill>
              </a:rPr>
              <a:t>classification rules</a:t>
            </a:r>
            <a:r>
              <a:rPr lang="en-US" dirty="0"/>
              <a:t>.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4F04B289-33BF-7402-B4F4-CC833BE390F3}"/>
              </a:ext>
            </a:extLst>
          </p:cNvPr>
          <p:cNvSpPr txBox="1"/>
          <p:nvPr/>
        </p:nvSpPr>
        <p:spPr>
          <a:xfrm>
            <a:off x="7425008" y="2228671"/>
            <a:ext cx="4109316" cy="1908215"/>
          </a:xfrm>
          <a:prstGeom prst="rect">
            <a:avLst/>
          </a:prstGeom>
          <a:solidFill>
            <a:srgbClr val="FFFDF9">
              <a:alpha val="75000"/>
            </a:srgbClr>
          </a:solidFill>
        </p:spPr>
        <p:txBody>
          <a:bodyPr wrap="square" rtlCol="0">
            <a:spAutoFit/>
          </a:bodyPr>
          <a:lstStyle/>
          <a:p>
            <a:r>
              <a:rPr lang="en-US" dirty="0"/>
              <a:t>The </a:t>
            </a:r>
            <a:r>
              <a:rPr lang="en-US" b="1" u="sng" dirty="0">
                <a:solidFill>
                  <a:schemeClr val="accent1">
                    <a:lumMod val="50000"/>
                  </a:schemeClr>
                </a:solidFill>
              </a:rPr>
              <a:t>classifications</a:t>
            </a:r>
            <a:r>
              <a:rPr lang="en-US" u="sng" dirty="0"/>
              <a:t> </a:t>
            </a:r>
            <a:r>
              <a:rPr lang="en-US" b="1" u="sng" dirty="0">
                <a:solidFill>
                  <a:schemeClr val="accent1">
                    <a:lumMod val="50000"/>
                  </a:schemeClr>
                </a:solidFill>
              </a:rPr>
              <a:t>rules</a:t>
            </a:r>
            <a:r>
              <a:rPr lang="en-US" u="sng" dirty="0"/>
              <a:t> </a:t>
            </a:r>
            <a:r>
              <a:rPr lang="en-US" dirty="0"/>
              <a:t>defines the “pattern” of the element the scan should find.</a:t>
            </a:r>
          </a:p>
          <a:p>
            <a:endParaRPr lang="en-US" dirty="0"/>
          </a:p>
          <a:p>
            <a:r>
              <a:rPr lang="en-US" dirty="0"/>
              <a:t>Note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 dirty="0">
                <a:solidFill>
                  <a:schemeClr val="accent1">
                    <a:lumMod val="50000"/>
                  </a:schemeClr>
                </a:solidFill>
              </a:rPr>
              <a:t>Classifications</a:t>
            </a:r>
            <a:r>
              <a:rPr lang="en-US" sz="1400" dirty="0"/>
              <a:t> can either be build-in (</a:t>
            </a:r>
            <a:r>
              <a:rPr lang="en-US" sz="1400" b="1" dirty="0">
                <a:solidFill>
                  <a:schemeClr val="accent1">
                    <a:lumMod val="50000"/>
                  </a:schemeClr>
                </a:solidFill>
              </a:rPr>
              <a:t>System - not shown</a:t>
            </a:r>
            <a:r>
              <a:rPr lang="en-US" sz="1400" dirty="0"/>
              <a:t>) or </a:t>
            </a:r>
            <a:r>
              <a:rPr lang="en-US" sz="1400" b="1" dirty="0">
                <a:solidFill>
                  <a:schemeClr val="accent1">
                    <a:lumMod val="50000"/>
                  </a:schemeClr>
                </a:solidFill>
              </a:rPr>
              <a:t>custom</a:t>
            </a:r>
          </a:p>
        </p:txBody>
      </p:sp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C6EBF00E-8455-8DFC-826C-FDA03E5C4E63}"/>
              </a:ext>
            </a:extLst>
          </p:cNvPr>
          <p:cNvCxnSpPr>
            <a:cxnSpLocks/>
          </p:cNvCxnSpPr>
          <p:nvPr/>
        </p:nvCxnSpPr>
        <p:spPr>
          <a:xfrm flipH="1">
            <a:off x="1516284" y="2498103"/>
            <a:ext cx="6449365" cy="2068067"/>
          </a:xfrm>
          <a:prstGeom prst="straightConnector1">
            <a:avLst/>
          </a:prstGeom>
          <a:ln w="25400">
            <a:solidFill>
              <a:srgbClr val="FF0000">
                <a:alpha val="50000"/>
              </a:srgb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CADBFBA8-A4CD-BAE6-659D-0C167F9C0F24}"/>
              </a:ext>
            </a:extLst>
          </p:cNvPr>
          <p:cNvCxnSpPr>
            <a:cxnSpLocks/>
          </p:cNvCxnSpPr>
          <p:nvPr/>
        </p:nvCxnSpPr>
        <p:spPr>
          <a:xfrm>
            <a:off x="11194648" y="4256588"/>
            <a:ext cx="0" cy="0"/>
          </a:xfrm>
          <a:prstGeom prst="line">
            <a:avLst/>
          </a:prstGeom>
          <a:ln w="25400">
            <a:solidFill>
              <a:srgbClr val="FF0000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254B30FD-C19E-E717-62EA-DF950E9FFAC5}"/>
              </a:ext>
            </a:extLst>
          </p:cNvPr>
          <p:cNvSpPr txBox="1"/>
          <p:nvPr/>
        </p:nvSpPr>
        <p:spPr>
          <a:xfrm>
            <a:off x="106100" y="6331848"/>
            <a:ext cx="141018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>
                <a:solidFill>
                  <a:schemeClr val="accent1">
                    <a:lumMod val="50000"/>
                  </a:schemeClr>
                </a:solidFill>
              </a:rPr>
              <a:t>Data Map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7667463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4221053-09AA-4C66-F702-EF3C7D3046F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66609D49-A5E4-468D-D9F4-855882AA21A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1301" y="1596012"/>
            <a:ext cx="8722924" cy="4029283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4BD503AC-ADF5-C8A5-DDEA-3DBCABFC949B}"/>
              </a:ext>
            </a:extLst>
          </p:cNvPr>
          <p:cNvSpPr txBox="1"/>
          <p:nvPr/>
        </p:nvSpPr>
        <p:spPr>
          <a:xfrm>
            <a:off x="601884" y="578734"/>
            <a:ext cx="436773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00B050"/>
                </a:solidFill>
              </a:rPr>
              <a:t>Classification </a:t>
            </a:r>
            <a:r>
              <a:rPr lang="en-US" dirty="0"/>
              <a:t>– </a:t>
            </a:r>
            <a:r>
              <a:rPr lang="en-US" b="1" dirty="0">
                <a:solidFill>
                  <a:schemeClr val="accent1">
                    <a:lumMod val="50000"/>
                  </a:schemeClr>
                </a:solidFill>
              </a:rPr>
              <a:t>Classification rules </a:t>
            </a:r>
            <a:r>
              <a:rPr lang="en-US" dirty="0"/>
              <a:t>creation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085F0B7-BF3E-DA3D-CCAD-6762E44121AD}"/>
              </a:ext>
            </a:extLst>
          </p:cNvPr>
          <p:cNvSpPr txBox="1"/>
          <p:nvPr/>
        </p:nvSpPr>
        <p:spPr>
          <a:xfrm>
            <a:off x="7878293" y="4136382"/>
            <a:ext cx="4109316" cy="1631216"/>
          </a:xfrm>
          <a:prstGeom prst="rect">
            <a:avLst/>
          </a:prstGeom>
          <a:solidFill>
            <a:srgbClr val="FFFDF9">
              <a:alpha val="75000"/>
            </a:srgbClr>
          </a:solidFill>
        </p:spPr>
        <p:txBody>
          <a:bodyPr wrap="square" rtlCol="0">
            <a:spAutoFit/>
          </a:bodyPr>
          <a:lstStyle/>
          <a:p>
            <a:r>
              <a:rPr lang="en-US" dirty="0"/>
              <a:t>The </a:t>
            </a:r>
            <a:r>
              <a:rPr lang="en-US" b="1" u="sng" dirty="0">
                <a:solidFill>
                  <a:schemeClr val="accent1">
                    <a:lumMod val="50000"/>
                  </a:schemeClr>
                </a:solidFill>
              </a:rPr>
              <a:t>classifications</a:t>
            </a:r>
            <a:r>
              <a:rPr lang="en-US" u="sng" dirty="0"/>
              <a:t> </a:t>
            </a:r>
            <a:r>
              <a:rPr lang="en-US" b="1" u="sng" dirty="0">
                <a:solidFill>
                  <a:schemeClr val="accent1">
                    <a:lumMod val="50000"/>
                  </a:schemeClr>
                </a:solidFill>
              </a:rPr>
              <a:t>rule</a:t>
            </a:r>
            <a:r>
              <a:rPr lang="en-US" u="sng" dirty="0"/>
              <a:t> </a:t>
            </a:r>
            <a:r>
              <a:rPr lang="en-US" dirty="0"/>
              <a:t>has a </a:t>
            </a:r>
            <a:r>
              <a:rPr lang="en-US" b="1" u="sng" dirty="0">
                <a:solidFill>
                  <a:schemeClr val="accent1">
                    <a:lumMod val="50000"/>
                  </a:schemeClr>
                </a:solidFill>
              </a:rPr>
              <a:t>nam</a:t>
            </a:r>
            <a:r>
              <a:rPr lang="en-US" b="1" dirty="0">
                <a:solidFill>
                  <a:schemeClr val="accent1">
                    <a:lumMod val="50000"/>
                  </a:schemeClr>
                </a:solidFill>
              </a:rPr>
              <a:t>e</a:t>
            </a:r>
            <a:r>
              <a:rPr lang="en-US" dirty="0"/>
              <a:t> and belongs to a </a:t>
            </a:r>
            <a:r>
              <a:rPr lang="en-US" b="1" dirty="0">
                <a:solidFill>
                  <a:schemeClr val="accent1">
                    <a:lumMod val="50000"/>
                  </a:schemeClr>
                </a:solidFill>
              </a:rPr>
              <a:t>classification</a:t>
            </a:r>
          </a:p>
          <a:p>
            <a:endParaRPr lang="en-US" dirty="0"/>
          </a:p>
          <a:p>
            <a:r>
              <a:rPr lang="en-US" dirty="0"/>
              <a:t>Note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 dirty="0">
                <a:solidFill>
                  <a:schemeClr val="accent1">
                    <a:lumMod val="50000"/>
                  </a:schemeClr>
                </a:solidFill>
              </a:rPr>
              <a:t>Classifications</a:t>
            </a:r>
            <a:r>
              <a:rPr lang="en-US" sz="1400" dirty="0"/>
              <a:t> can either be a regular expression or a list values.</a:t>
            </a:r>
            <a:endParaRPr lang="en-US" sz="1400"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95BE64BE-FEA9-6C9C-AF7D-747BDA32443B}"/>
              </a:ext>
            </a:extLst>
          </p:cNvPr>
          <p:cNvCxnSpPr>
            <a:cxnSpLocks/>
          </p:cNvCxnSpPr>
          <p:nvPr/>
        </p:nvCxnSpPr>
        <p:spPr>
          <a:xfrm flipH="1" flipV="1">
            <a:off x="7878293" y="2721618"/>
            <a:ext cx="511563" cy="1671273"/>
          </a:xfrm>
          <a:prstGeom prst="straightConnector1">
            <a:avLst/>
          </a:prstGeom>
          <a:ln w="25400">
            <a:solidFill>
              <a:srgbClr val="FF0000">
                <a:alpha val="50000"/>
              </a:srgb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141737E2-08A2-9580-69BD-9D422D35B3B8}"/>
              </a:ext>
            </a:extLst>
          </p:cNvPr>
          <p:cNvCxnSpPr>
            <a:cxnSpLocks/>
          </p:cNvCxnSpPr>
          <p:nvPr/>
        </p:nvCxnSpPr>
        <p:spPr>
          <a:xfrm flipH="1" flipV="1">
            <a:off x="8808334" y="1944547"/>
            <a:ext cx="2051344" cy="2448344"/>
          </a:xfrm>
          <a:prstGeom prst="straightConnector1">
            <a:avLst/>
          </a:prstGeom>
          <a:ln w="25400">
            <a:solidFill>
              <a:srgbClr val="FF0000">
                <a:alpha val="50000"/>
              </a:srgb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0B35E4D4-12B1-FD25-1DA1-34C0B0493B59}"/>
              </a:ext>
            </a:extLst>
          </p:cNvPr>
          <p:cNvCxnSpPr>
            <a:cxnSpLocks/>
          </p:cNvCxnSpPr>
          <p:nvPr/>
        </p:nvCxnSpPr>
        <p:spPr>
          <a:xfrm>
            <a:off x="11194648" y="4256588"/>
            <a:ext cx="0" cy="0"/>
          </a:xfrm>
          <a:prstGeom prst="line">
            <a:avLst/>
          </a:prstGeom>
          <a:ln w="25400">
            <a:solidFill>
              <a:srgbClr val="FF0000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E3B6FC93-93AB-D643-ADB6-8A7E5E518F2D}"/>
              </a:ext>
            </a:extLst>
          </p:cNvPr>
          <p:cNvSpPr txBox="1"/>
          <p:nvPr/>
        </p:nvSpPr>
        <p:spPr>
          <a:xfrm>
            <a:off x="106100" y="6331848"/>
            <a:ext cx="141018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>
                <a:solidFill>
                  <a:schemeClr val="accent1">
                    <a:lumMod val="50000"/>
                  </a:schemeClr>
                </a:solidFill>
              </a:rPr>
              <a:t>Data Map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1558223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8A7AFA9-45ED-E094-72C7-2DE51EF95E3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56254960-4F98-0532-5B0E-D21045FB0C3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8816" y="1779440"/>
            <a:ext cx="8204594" cy="3787983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CB8721B0-FBBC-719B-7AF6-7F530F3E32F9}"/>
              </a:ext>
            </a:extLst>
          </p:cNvPr>
          <p:cNvSpPr txBox="1"/>
          <p:nvPr/>
        </p:nvSpPr>
        <p:spPr>
          <a:xfrm>
            <a:off x="601884" y="578734"/>
            <a:ext cx="436773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00B050"/>
                </a:solidFill>
              </a:rPr>
              <a:t>Classification </a:t>
            </a:r>
            <a:r>
              <a:rPr lang="en-US" dirty="0"/>
              <a:t>– </a:t>
            </a:r>
            <a:r>
              <a:rPr lang="en-US" b="1" dirty="0">
                <a:solidFill>
                  <a:schemeClr val="accent1">
                    <a:lumMod val="50000"/>
                  </a:schemeClr>
                </a:solidFill>
              </a:rPr>
              <a:t>Classification rules </a:t>
            </a:r>
            <a:r>
              <a:rPr lang="en-US" dirty="0"/>
              <a:t>creation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90DCDE2-6652-E788-715D-D6531B31F4DB}"/>
              </a:ext>
            </a:extLst>
          </p:cNvPr>
          <p:cNvSpPr txBox="1"/>
          <p:nvPr/>
        </p:nvSpPr>
        <p:spPr>
          <a:xfrm>
            <a:off x="7723868" y="4321983"/>
            <a:ext cx="4109316" cy="1908215"/>
          </a:xfrm>
          <a:prstGeom prst="rect">
            <a:avLst/>
          </a:prstGeom>
          <a:solidFill>
            <a:srgbClr val="FFFDF9">
              <a:alpha val="75000"/>
            </a:srgbClr>
          </a:solidFill>
        </p:spPr>
        <p:txBody>
          <a:bodyPr wrap="square" rtlCol="0">
            <a:spAutoFit/>
          </a:bodyPr>
          <a:lstStyle/>
          <a:p>
            <a:r>
              <a:rPr lang="en-US" dirty="0"/>
              <a:t>The </a:t>
            </a:r>
            <a:r>
              <a:rPr lang="en-US" b="1" dirty="0">
                <a:solidFill>
                  <a:schemeClr val="accent1">
                    <a:lumMod val="50000"/>
                  </a:schemeClr>
                </a:solidFill>
              </a:rPr>
              <a:t>regular expressions </a:t>
            </a:r>
            <a:r>
              <a:rPr lang="en-US" dirty="0"/>
              <a:t>can define one or more “patterns” in the </a:t>
            </a:r>
            <a:r>
              <a:rPr lang="en-US" b="1" u="sng" dirty="0">
                <a:solidFill>
                  <a:schemeClr val="accent1">
                    <a:lumMod val="50000"/>
                  </a:schemeClr>
                </a:solidFill>
              </a:rPr>
              <a:t>data itself</a:t>
            </a:r>
            <a:r>
              <a:rPr lang="en-US" b="1" dirty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en-US" b="1" u="sng" dirty="0"/>
              <a:t>and/or </a:t>
            </a:r>
            <a:r>
              <a:rPr lang="en-US" dirty="0"/>
              <a:t>the </a:t>
            </a:r>
            <a:r>
              <a:rPr lang="en-US" b="1" u="sng" dirty="0">
                <a:solidFill>
                  <a:schemeClr val="accent1">
                    <a:lumMod val="50000"/>
                  </a:schemeClr>
                </a:solidFill>
              </a:rPr>
              <a:t>name</a:t>
            </a:r>
            <a:r>
              <a:rPr lang="en-US" dirty="0"/>
              <a:t> of the </a:t>
            </a:r>
            <a:r>
              <a:rPr lang="en-US" b="1" dirty="0">
                <a:solidFill>
                  <a:schemeClr val="accent1">
                    <a:lumMod val="50000"/>
                  </a:schemeClr>
                </a:solidFill>
              </a:rPr>
              <a:t>columns</a:t>
            </a:r>
            <a:r>
              <a:rPr lang="en-US" dirty="0"/>
              <a:t>.</a:t>
            </a:r>
          </a:p>
          <a:p>
            <a:endParaRPr lang="en-US" dirty="0"/>
          </a:p>
          <a:p>
            <a:r>
              <a:rPr lang="en-US" dirty="0"/>
              <a:t>Note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You can make any combination of rules of data or column names</a:t>
            </a:r>
          </a:p>
        </p:txBody>
      </p:sp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2DDE612F-42BB-C0B3-EB02-DCDAFFACA7B9}"/>
              </a:ext>
            </a:extLst>
          </p:cNvPr>
          <p:cNvCxnSpPr>
            <a:cxnSpLocks/>
          </p:cNvCxnSpPr>
          <p:nvPr/>
        </p:nvCxnSpPr>
        <p:spPr>
          <a:xfrm flipH="1" flipV="1">
            <a:off x="8449519" y="2673752"/>
            <a:ext cx="1853978" cy="2126329"/>
          </a:xfrm>
          <a:prstGeom prst="straightConnector1">
            <a:avLst/>
          </a:prstGeom>
          <a:ln w="25400">
            <a:solidFill>
              <a:srgbClr val="FF0000">
                <a:alpha val="50000"/>
              </a:srgb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278F3DB7-1A19-5FB6-E992-E4CFEEEE5B86}"/>
              </a:ext>
            </a:extLst>
          </p:cNvPr>
          <p:cNvCxnSpPr>
            <a:cxnSpLocks/>
          </p:cNvCxnSpPr>
          <p:nvPr/>
        </p:nvCxnSpPr>
        <p:spPr>
          <a:xfrm flipH="1" flipV="1">
            <a:off x="7723868" y="3289955"/>
            <a:ext cx="1196991" cy="1798157"/>
          </a:xfrm>
          <a:prstGeom prst="straightConnector1">
            <a:avLst/>
          </a:prstGeom>
          <a:ln w="25400">
            <a:solidFill>
              <a:srgbClr val="FF0000">
                <a:alpha val="50000"/>
              </a:srgb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CF0CF14A-F85F-F3C4-A6A2-CC655A366349}"/>
              </a:ext>
            </a:extLst>
          </p:cNvPr>
          <p:cNvCxnSpPr>
            <a:cxnSpLocks/>
          </p:cNvCxnSpPr>
          <p:nvPr/>
        </p:nvCxnSpPr>
        <p:spPr>
          <a:xfrm>
            <a:off x="11194648" y="4256588"/>
            <a:ext cx="0" cy="0"/>
          </a:xfrm>
          <a:prstGeom prst="line">
            <a:avLst/>
          </a:prstGeom>
          <a:ln w="25400">
            <a:solidFill>
              <a:srgbClr val="FF0000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4594D039-6C2B-6645-1557-3B1B9EF0D713}"/>
              </a:ext>
            </a:extLst>
          </p:cNvPr>
          <p:cNvSpPr txBox="1"/>
          <p:nvPr/>
        </p:nvSpPr>
        <p:spPr>
          <a:xfrm>
            <a:off x="106100" y="6331848"/>
            <a:ext cx="141018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chemeClr val="accent1">
                    <a:lumMod val="50000"/>
                  </a:schemeClr>
                </a:solidFill>
              </a:rPr>
              <a:t>Data Map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9305215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F59ECDD-9C41-E227-751A-8BE25C2B01B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B16A7571-2B28-5120-B35C-DEF4B48941DB}"/>
              </a:ext>
            </a:extLst>
          </p:cNvPr>
          <p:cNvSpPr txBox="1"/>
          <p:nvPr/>
        </p:nvSpPr>
        <p:spPr>
          <a:xfrm>
            <a:off x="617786" y="1191885"/>
            <a:ext cx="7791696" cy="47705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Gives you possibility to mark data assets to reflect the intended usage. </a:t>
            </a:r>
          </a:p>
          <a:p>
            <a:endParaRPr lang="en-US" sz="1600" dirty="0"/>
          </a:p>
          <a:p>
            <a:r>
              <a:rPr lang="en-US" sz="1600" dirty="0"/>
              <a:t>Sensitivity labels comes from Microsoft 365 and hence you need a license for this. </a:t>
            </a:r>
          </a:p>
          <a:p>
            <a:endParaRPr lang="en-US" sz="1600" dirty="0"/>
          </a:p>
          <a:p>
            <a:r>
              <a:rPr lang="en-US" sz="1600" dirty="0"/>
              <a:t>You can not create these labels within Purview itself. </a:t>
            </a:r>
          </a:p>
          <a:p>
            <a:endParaRPr lang="en-US" sz="1600" dirty="0"/>
          </a:p>
          <a:p>
            <a:r>
              <a:rPr lang="en-US" sz="1600" dirty="0"/>
              <a:t>Sensitivity labels often has a structure like Public -&gt; Internal -&gt; Confidential. This represents a way of handling files/mails, where we want to be able to control how those can be distributed. The challenge here is that the Purviews Data Governance part handles databases -&gt; Tables -&gt; Columns. So, care should be taken on how to use sensitivity labels on data assets. </a:t>
            </a:r>
          </a:p>
          <a:p>
            <a:endParaRPr lang="en-US" sz="1600" dirty="0"/>
          </a:p>
          <a:p>
            <a:r>
              <a:rPr lang="en-US" sz="1600" dirty="0"/>
              <a:t>Also note that Purview Data Governance is “passive”, it does not enforce – nor have the capability to enforce – such labels. </a:t>
            </a:r>
          </a:p>
          <a:p>
            <a:endParaRPr lang="en-US" sz="1600" dirty="0"/>
          </a:p>
          <a:p>
            <a:r>
              <a:rPr lang="en-US" sz="1600" dirty="0"/>
              <a:t> </a:t>
            </a:r>
          </a:p>
          <a:p>
            <a:endParaRPr lang="en-US" sz="1600" dirty="0"/>
          </a:p>
          <a:p>
            <a:r>
              <a:rPr lang="en-US" sz="1600" dirty="0"/>
              <a:t>For guidance on Microsoft 365  please see here - </a:t>
            </a:r>
            <a:r>
              <a:rPr lang="en-US" sz="1600" dirty="0">
                <a:hlinkClick r:id="rId2"/>
              </a:rPr>
              <a:t>https://learn.microsoft.com/en-us/purview/sensitivity-labels</a:t>
            </a:r>
            <a:endParaRPr lang="en-US" sz="1600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E12A9F4-54B8-15D2-E0BE-B29165244995}"/>
              </a:ext>
            </a:extLst>
          </p:cNvPr>
          <p:cNvSpPr txBox="1"/>
          <p:nvPr/>
        </p:nvSpPr>
        <p:spPr>
          <a:xfrm>
            <a:off x="617786" y="447358"/>
            <a:ext cx="178927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chemeClr val="accent1">
                    <a:lumMod val="50000"/>
                  </a:schemeClr>
                </a:solidFill>
              </a:rPr>
              <a:t>Sensitivity label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39429517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B0E56E2-D6C0-DCF1-C8EC-52AE137BA4A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D877BB27-0AFC-D12F-4737-150273325FA2}"/>
              </a:ext>
            </a:extLst>
          </p:cNvPr>
          <p:cNvSpPr txBox="1"/>
          <p:nvPr/>
        </p:nvSpPr>
        <p:spPr>
          <a:xfrm>
            <a:off x="4703975" y="2988297"/>
            <a:ext cx="179568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Edit a data asset</a:t>
            </a:r>
          </a:p>
        </p:txBody>
      </p:sp>
    </p:spTree>
    <p:extLst>
      <p:ext uri="{BB962C8B-B14F-4D97-AF65-F5344CB8AC3E}">
        <p14:creationId xmlns:p14="http://schemas.microsoft.com/office/powerpoint/2010/main" val="3717846884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0D2344F6-6D55-22EF-FF2E-33723144C1B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94553" y="1298888"/>
            <a:ext cx="7772400" cy="4260223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722AD3A8-3163-A7C2-E581-69BA6271AE34}"/>
              </a:ext>
            </a:extLst>
          </p:cNvPr>
          <p:cNvSpPr txBox="1"/>
          <p:nvPr/>
        </p:nvSpPr>
        <p:spPr>
          <a:xfrm>
            <a:off x="601884" y="578734"/>
            <a:ext cx="209486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o edit a </a:t>
            </a:r>
            <a:r>
              <a:rPr lang="en-US" b="1" dirty="0">
                <a:solidFill>
                  <a:schemeClr val="accent1">
                    <a:lumMod val="50000"/>
                  </a:schemeClr>
                </a:solidFill>
              </a:rPr>
              <a:t>data asset</a:t>
            </a:r>
            <a:endParaRPr lang="en-US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C2E6660-07FF-23D7-BB97-B02DACE1C22A}"/>
              </a:ext>
            </a:extLst>
          </p:cNvPr>
          <p:cNvSpPr txBox="1"/>
          <p:nvPr/>
        </p:nvSpPr>
        <p:spPr>
          <a:xfrm>
            <a:off x="4392892" y="4381580"/>
            <a:ext cx="6535254" cy="1477328"/>
          </a:xfrm>
          <a:prstGeom prst="rect">
            <a:avLst/>
          </a:prstGeom>
          <a:solidFill>
            <a:srgbClr val="FFFDF9">
              <a:alpha val="91933"/>
            </a:srgbClr>
          </a:solidFill>
          <a:ln w="12700"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r>
              <a:rPr lang="en-US" dirty="0"/>
              <a:t>To edit a data asset, you can either press </a:t>
            </a:r>
            <a:r>
              <a:rPr lang="en-US" b="1" u="sng" dirty="0">
                <a:solidFill>
                  <a:srgbClr val="00B050"/>
                </a:solidFill>
              </a:rPr>
              <a:t>edit</a:t>
            </a:r>
            <a:r>
              <a:rPr lang="en-US" dirty="0"/>
              <a:t>, to edit a single asset or press </a:t>
            </a:r>
            <a:r>
              <a:rPr lang="en-US" b="1" u="sng" dirty="0">
                <a:solidFill>
                  <a:srgbClr val="00B050"/>
                </a:solidFill>
              </a:rPr>
              <a:t>Select for bulk </a:t>
            </a:r>
            <a:r>
              <a:rPr lang="en-US" dirty="0"/>
              <a:t>edit to mark this asset to a list where you edit multiple assets in one go.</a:t>
            </a:r>
            <a:br>
              <a:rPr lang="en-US" dirty="0"/>
            </a:br>
            <a:br>
              <a:rPr lang="en-US" dirty="0"/>
            </a:br>
            <a:r>
              <a:rPr lang="en-US" dirty="0"/>
              <a:t>Note – you can </a:t>
            </a:r>
            <a:r>
              <a:rPr lang="en-US" u="sng" dirty="0">
                <a:solidFill>
                  <a:srgbClr val="00B050"/>
                </a:solidFill>
              </a:rPr>
              <a:t>add tags </a:t>
            </a:r>
            <a:r>
              <a:rPr lang="en-US" dirty="0"/>
              <a:t>without pressing </a:t>
            </a:r>
            <a:r>
              <a:rPr lang="en-US" b="1" dirty="0">
                <a:solidFill>
                  <a:srgbClr val="00B050"/>
                </a:solidFill>
              </a:rPr>
              <a:t>edit</a:t>
            </a:r>
            <a:r>
              <a:rPr lang="en-US" dirty="0"/>
              <a:t>.</a:t>
            </a:r>
          </a:p>
        </p:txBody>
      </p:sp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530C4EAB-9CCB-C337-2D7F-32ECCAEA3EEF}"/>
              </a:ext>
            </a:extLst>
          </p:cNvPr>
          <p:cNvCxnSpPr>
            <a:cxnSpLocks/>
          </p:cNvCxnSpPr>
          <p:nvPr/>
        </p:nvCxnSpPr>
        <p:spPr>
          <a:xfrm flipH="1" flipV="1">
            <a:off x="2620652" y="1941922"/>
            <a:ext cx="3409694" cy="3788883"/>
          </a:xfrm>
          <a:prstGeom prst="straightConnector1">
            <a:avLst/>
          </a:prstGeom>
          <a:ln w="25400">
            <a:solidFill>
              <a:srgbClr val="FF0000">
                <a:alpha val="50000"/>
              </a:srgb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C637B2D1-7F2D-12DD-B31F-C12A82A71B3A}"/>
              </a:ext>
            </a:extLst>
          </p:cNvPr>
          <p:cNvCxnSpPr>
            <a:cxnSpLocks/>
          </p:cNvCxnSpPr>
          <p:nvPr/>
        </p:nvCxnSpPr>
        <p:spPr>
          <a:xfrm flipH="1" flipV="1">
            <a:off x="2253006" y="2111604"/>
            <a:ext cx="6202837" cy="2499184"/>
          </a:xfrm>
          <a:prstGeom prst="straightConnector1">
            <a:avLst/>
          </a:prstGeom>
          <a:ln w="25400">
            <a:solidFill>
              <a:srgbClr val="FF0000">
                <a:alpha val="50000"/>
              </a:srgb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2BA9EC06-47C5-51FE-A977-5CEA469CB345}"/>
              </a:ext>
            </a:extLst>
          </p:cNvPr>
          <p:cNvCxnSpPr>
            <a:cxnSpLocks/>
          </p:cNvCxnSpPr>
          <p:nvPr/>
        </p:nvCxnSpPr>
        <p:spPr>
          <a:xfrm flipH="1" flipV="1">
            <a:off x="2922309" y="2111604"/>
            <a:ext cx="2959644" cy="2806485"/>
          </a:xfrm>
          <a:prstGeom prst="straightConnector1">
            <a:avLst/>
          </a:prstGeom>
          <a:ln w="25400">
            <a:solidFill>
              <a:srgbClr val="FF0000">
                <a:alpha val="50000"/>
              </a:srgb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1348193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0EDF607C-124A-F6D0-EA2A-05476FE54AFC}"/>
              </a:ext>
            </a:extLst>
          </p:cNvPr>
          <p:cNvSpPr txBox="1"/>
          <p:nvPr/>
        </p:nvSpPr>
        <p:spPr>
          <a:xfrm>
            <a:off x="4703975" y="2988297"/>
            <a:ext cx="243368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Edit a single data asset</a:t>
            </a:r>
          </a:p>
        </p:txBody>
      </p:sp>
    </p:spTree>
    <p:extLst>
      <p:ext uri="{BB962C8B-B14F-4D97-AF65-F5344CB8AC3E}">
        <p14:creationId xmlns:p14="http://schemas.microsoft.com/office/powerpoint/2010/main" val="306284338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9A465155-77E1-375E-BFC9-73AD4963204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60109" y="1207271"/>
            <a:ext cx="7772400" cy="4443457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0B9B4D5B-2C40-2EF1-6DC5-776918281B6E}"/>
              </a:ext>
            </a:extLst>
          </p:cNvPr>
          <p:cNvSpPr txBox="1"/>
          <p:nvPr/>
        </p:nvSpPr>
        <p:spPr>
          <a:xfrm>
            <a:off x="573603" y="578734"/>
            <a:ext cx="500367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1a - Edit a single </a:t>
            </a:r>
            <a:r>
              <a:rPr lang="en-US" b="1" dirty="0">
                <a:solidFill>
                  <a:schemeClr val="accent1">
                    <a:lumMod val="50000"/>
                  </a:schemeClr>
                </a:solidFill>
              </a:rPr>
              <a:t>data asset </a:t>
            </a:r>
            <a:r>
              <a:rPr lang="en-US" dirty="0"/>
              <a:t>overview information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FCCDCA1F-6801-E346-2200-A686E8CB0372}"/>
              </a:ext>
            </a:extLst>
          </p:cNvPr>
          <p:cNvSpPr txBox="1"/>
          <p:nvPr/>
        </p:nvSpPr>
        <p:spPr>
          <a:xfrm>
            <a:off x="6016255" y="581996"/>
            <a:ext cx="5003679" cy="923330"/>
          </a:xfrm>
          <a:prstGeom prst="rect">
            <a:avLst/>
          </a:prstGeom>
          <a:solidFill>
            <a:srgbClr val="FFFDF9">
              <a:alpha val="91933"/>
            </a:srgbClr>
          </a:solidFill>
          <a:ln w="12700"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r>
              <a:rPr lang="en-US" dirty="0"/>
              <a:t>Note - The tabs shown are in the same order as the ones when viewing the data asset, but only the ones where you can edit information.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3F56CEB-3081-FC5B-9314-9EA7A138D8DE}"/>
              </a:ext>
            </a:extLst>
          </p:cNvPr>
          <p:cNvSpPr txBox="1"/>
          <p:nvPr/>
        </p:nvSpPr>
        <p:spPr>
          <a:xfrm>
            <a:off x="6016255" y="1668936"/>
            <a:ext cx="5804957" cy="4801314"/>
          </a:xfrm>
          <a:prstGeom prst="rect">
            <a:avLst/>
          </a:prstGeom>
          <a:solidFill>
            <a:srgbClr val="FFFDF9">
              <a:alpha val="91933"/>
            </a:srgbClr>
          </a:solidFill>
          <a:ln w="12700"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r>
              <a:rPr lang="en-US" b="1" u="sng" dirty="0">
                <a:solidFill>
                  <a:srgbClr val="00B050"/>
                </a:solidFill>
              </a:rPr>
              <a:t>Name</a:t>
            </a:r>
            <a:r>
              <a:rPr lang="en-US" dirty="0"/>
              <a:t> - you can enter another name for the data asset, the original name is kept, but then not shown.</a:t>
            </a:r>
          </a:p>
          <a:p>
            <a:endParaRPr lang="en-US" dirty="0"/>
          </a:p>
          <a:p>
            <a:r>
              <a:rPr lang="en-US" b="1" u="sng" dirty="0">
                <a:solidFill>
                  <a:srgbClr val="00B050"/>
                </a:solidFill>
              </a:rPr>
              <a:t>Asset description</a:t>
            </a:r>
            <a:r>
              <a:rPr lang="en-US" dirty="0"/>
              <a:t> - any text reflecting the data asset.</a:t>
            </a:r>
          </a:p>
          <a:p>
            <a:endParaRPr lang="en-US" dirty="0"/>
          </a:p>
          <a:p>
            <a:r>
              <a:rPr lang="en-US" b="1" u="sng" dirty="0">
                <a:solidFill>
                  <a:srgbClr val="00B050"/>
                </a:solidFill>
              </a:rPr>
              <a:t>Classification</a:t>
            </a:r>
            <a:r>
              <a:rPr lang="en-US" b="1" dirty="0">
                <a:solidFill>
                  <a:srgbClr val="00B050"/>
                </a:solidFill>
              </a:rPr>
              <a:t> </a:t>
            </a:r>
            <a:r>
              <a:rPr lang="en-US" dirty="0"/>
              <a:t>– you can add/change classification connected to this data asset (see here)</a:t>
            </a:r>
          </a:p>
          <a:p>
            <a:endParaRPr lang="en-US" dirty="0"/>
          </a:p>
          <a:p>
            <a:r>
              <a:rPr lang="en-US" b="1" u="sng" dirty="0">
                <a:solidFill>
                  <a:srgbClr val="00B050"/>
                </a:solidFill>
              </a:rPr>
              <a:t>Glossary terms</a:t>
            </a:r>
            <a:r>
              <a:rPr lang="en-US" dirty="0"/>
              <a:t> - you can add/change glossary terms suitable for this data asset (see here)</a:t>
            </a:r>
          </a:p>
          <a:p>
            <a:endParaRPr lang="en-US" dirty="0"/>
          </a:p>
          <a:p>
            <a:r>
              <a:rPr lang="en-US" b="1" u="sng" dirty="0">
                <a:solidFill>
                  <a:srgbClr val="00B050"/>
                </a:solidFill>
              </a:rPr>
              <a:t>Certified</a:t>
            </a:r>
            <a:r>
              <a:rPr lang="en-US" dirty="0"/>
              <a:t> – is a “simple” yes/no button. Can be used to distinguish between reviewed and not reviews assets.</a:t>
            </a:r>
          </a:p>
          <a:p>
            <a:endParaRPr lang="en-US" dirty="0"/>
          </a:p>
          <a:p>
            <a:r>
              <a:rPr lang="en-US" b="1" u="sng" dirty="0">
                <a:solidFill>
                  <a:srgbClr val="00B050"/>
                </a:solidFill>
              </a:rPr>
              <a:t>Data asset attributes</a:t>
            </a:r>
            <a:r>
              <a:rPr lang="en-US" dirty="0"/>
              <a:t> - will be available if you you have created “custom attributes” for this data asset type (see here).</a:t>
            </a:r>
          </a:p>
        </p:txBody>
      </p:sp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19AB92A1-EA80-5E8C-5A3F-0F1899966873}"/>
              </a:ext>
            </a:extLst>
          </p:cNvPr>
          <p:cNvCxnSpPr>
            <a:cxnSpLocks/>
            <a:stCxn id="4" idx="1"/>
          </p:cNvCxnSpPr>
          <p:nvPr/>
        </p:nvCxnSpPr>
        <p:spPr>
          <a:xfrm flipH="1">
            <a:off x="2413262" y="1043661"/>
            <a:ext cx="3602993" cy="625275"/>
          </a:xfrm>
          <a:prstGeom prst="straightConnector1">
            <a:avLst/>
          </a:prstGeom>
          <a:ln w="25400">
            <a:solidFill>
              <a:srgbClr val="FF0000">
                <a:alpha val="50000"/>
              </a:srgb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14633433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4AA4C90E-F347-D14B-D794-021655B0881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52340" y="1358100"/>
            <a:ext cx="7772400" cy="4443457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D5D10D61-7D11-C578-E60F-2B9FEAE0069B}"/>
              </a:ext>
            </a:extLst>
          </p:cNvPr>
          <p:cNvSpPr txBox="1"/>
          <p:nvPr/>
        </p:nvSpPr>
        <p:spPr>
          <a:xfrm>
            <a:off x="4553147" y="2746842"/>
            <a:ext cx="7361549" cy="3693319"/>
          </a:xfrm>
          <a:prstGeom prst="rect">
            <a:avLst/>
          </a:prstGeom>
          <a:solidFill>
            <a:srgbClr val="FFFDF9">
              <a:alpha val="91933"/>
            </a:srgbClr>
          </a:solidFill>
          <a:ln w="12700"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r>
              <a:rPr lang="en-US" b="1" u="sng" dirty="0">
                <a:solidFill>
                  <a:srgbClr val="00B050"/>
                </a:solidFill>
              </a:rPr>
              <a:t>Column Name</a:t>
            </a:r>
            <a:r>
              <a:rPr lang="en-US" dirty="0"/>
              <a:t> - you can enter another name for the data asset, the original name is kept, but then not shown.</a:t>
            </a:r>
          </a:p>
          <a:p>
            <a:endParaRPr lang="en-US" dirty="0"/>
          </a:p>
          <a:p>
            <a:r>
              <a:rPr lang="en-US" b="1" u="sng" dirty="0">
                <a:solidFill>
                  <a:srgbClr val="00B050"/>
                </a:solidFill>
              </a:rPr>
              <a:t>Column level Classification</a:t>
            </a:r>
            <a:r>
              <a:rPr lang="en-US" b="1" dirty="0">
                <a:solidFill>
                  <a:srgbClr val="00B050"/>
                </a:solidFill>
              </a:rPr>
              <a:t> </a:t>
            </a:r>
            <a:r>
              <a:rPr lang="en-US" dirty="0"/>
              <a:t>– you can add/change classification connected to this data asset (see here)</a:t>
            </a:r>
          </a:p>
          <a:p>
            <a:endParaRPr lang="en-US" dirty="0"/>
          </a:p>
          <a:p>
            <a:r>
              <a:rPr lang="en-US" b="1" u="sng" dirty="0">
                <a:solidFill>
                  <a:srgbClr val="00B050"/>
                </a:solidFill>
              </a:rPr>
              <a:t>Glossary terms</a:t>
            </a:r>
            <a:r>
              <a:rPr lang="en-US" dirty="0"/>
              <a:t> - you can add/change glossary terms suitable for this data asset (see here)</a:t>
            </a:r>
          </a:p>
          <a:p>
            <a:endParaRPr lang="en-US" dirty="0"/>
          </a:p>
          <a:p>
            <a:r>
              <a:rPr lang="en-US" b="1" u="sng" dirty="0">
                <a:solidFill>
                  <a:srgbClr val="00B050"/>
                </a:solidFill>
              </a:rPr>
              <a:t>Data type</a:t>
            </a:r>
            <a:r>
              <a:rPr lang="en-US" dirty="0"/>
              <a:t> – you can change the data type for this column. Note that Purview is not concerned about length and precision.</a:t>
            </a:r>
          </a:p>
          <a:p>
            <a:endParaRPr lang="en-US" dirty="0"/>
          </a:p>
          <a:p>
            <a:r>
              <a:rPr lang="en-US" b="1" u="sng" dirty="0">
                <a:solidFill>
                  <a:srgbClr val="00B050"/>
                </a:solidFill>
              </a:rPr>
              <a:t>Asset description</a:t>
            </a:r>
            <a:r>
              <a:rPr lang="en-US" dirty="0"/>
              <a:t> - any text reflecting the data asset.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6BD48A70-4FB0-C6A4-F222-039FBEF45019}"/>
              </a:ext>
            </a:extLst>
          </p:cNvPr>
          <p:cNvSpPr txBox="1"/>
          <p:nvPr/>
        </p:nvSpPr>
        <p:spPr>
          <a:xfrm>
            <a:off x="573603" y="578734"/>
            <a:ext cx="507863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1b - Edit a single </a:t>
            </a:r>
            <a:r>
              <a:rPr lang="en-US" b="1" dirty="0">
                <a:solidFill>
                  <a:schemeClr val="accent1">
                    <a:lumMod val="50000"/>
                  </a:schemeClr>
                </a:solidFill>
              </a:rPr>
              <a:t>data asset</a:t>
            </a:r>
            <a:r>
              <a:rPr lang="en-US" dirty="0"/>
              <a:t> – schema information</a:t>
            </a:r>
          </a:p>
        </p:txBody>
      </p:sp>
    </p:spTree>
    <p:extLst>
      <p:ext uri="{BB962C8B-B14F-4D97-AF65-F5344CB8AC3E}">
        <p14:creationId xmlns:p14="http://schemas.microsoft.com/office/powerpoint/2010/main" val="76601027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9EA52250-B9DF-1FD4-1C8A-339086A9F226}"/>
              </a:ext>
            </a:extLst>
          </p:cNvPr>
          <p:cNvSpPr txBox="1"/>
          <p:nvPr/>
        </p:nvSpPr>
        <p:spPr>
          <a:xfrm>
            <a:off x="6423949" y="2569579"/>
            <a:ext cx="4365426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000">
                <a:latin typeface="Segoe UI" panose="020B0502040204020203" pitchFamily="34" charset="0"/>
                <a:cs typeface="Segoe UI" panose="020B0502040204020203" pitchFamily="34" charset="0"/>
              </a:rPr>
              <a:t>First Purview Tasks</a:t>
            </a:r>
          </a:p>
        </p:txBody>
      </p:sp>
    </p:spTree>
    <p:extLst>
      <p:ext uri="{BB962C8B-B14F-4D97-AF65-F5344CB8AC3E}">
        <p14:creationId xmlns:p14="http://schemas.microsoft.com/office/powerpoint/2010/main" val="2200938263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757B7A2B-E760-97C6-889E-CE7FE7EF299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7561" y="1207271"/>
            <a:ext cx="7772400" cy="4443457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04773D2B-0455-353E-0F4B-4ACE70F269D8}"/>
              </a:ext>
            </a:extLst>
          </p:cNvPr>
          <p:cNvSpPr txBox="1"/>
          <p:nvPr/>
        </p:nvSpPr>
        <p:spPr>
          <a:xfrm>
            <a:off x="4717329" y="2152954"/>
            <a:ext cx="7361549" cy="1754326"/>
          </a:xfrm>
          <a:prstGeom prst="rect">
            <a:avLst/>
          </a:prstGeom>
          <a:solidFill>
            <a:srgbClr val="FFFDF9">
              <a:alpha val="91933"/>
            </a:srgbClr>
          </a:solidFill>
          <a:ln w="12700"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r>
              <a:rPr lang="en-US" dirty="0"/>
              <a:t>On this screen you can add/change lineage information that is wrong or missing.</a:t>
            </a:r>
          </a:p>
          <a:p>
            <a:endParaRPr lang="en-US" dirty="0"/>
          </a:p>
          <a:p>
            <a:r>
              <a:rPr lang="en-US" dirty="0"/>
              <a:t>You can only add lineage to existing data assets. </a:t>
            </a:r>
          </a:p>
          <a:p>
            <a:endParaRPr lang="en-US" dirty="0"/>
          </a:p>
          <a:p>
            <a:r>
              <a:rPr lang="en-US" dirty="0"/>
              <a:t>You can also change the direction of the “lineage”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9619B28-A09B-D167-DFCA-3E39EBF774B7}"/>
              </a:ext>
            </a:extLst>
          </p:cNvPr>
          <p:cNvSpPr txBox="1"/>
          <p:nvPr/>
        </p:nvSpPr>
        <p:spPr>
          <a:xfrm>
            <a:off x="573603" y="578734"/>
            <a:ext cx="501130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1c - Edit a single </a:t>
            </a:r>
            <a:r>
              <a:rPr lang="en-US" b="1" dirty="0">
                <a:solidFill>
                  <a:schemeClr val="accent1">
                    <a:lumMod val="50000"/>
                  </a:schemeClr>
                </a:solidFill>
              </a:rPr>
              <a:t>data asset</a:t>
            </a:r>
            <a:r>
              <a:rPr lang="en-US" dirty="0"/>
              <a:t> – lineage information</a:t>
            </a:r>
          </a:p>
        </p:txBody>
      </p:sp>
    </p:spTree>
    <p:extLst>
      <p:ext uri="{BB962C8B-B14F-4D97-AF65-F5344CB8AC3E}">
        <p14:creationId xmlns:p14="http://schemas.microsoft.com/office/powerpoint/2010/main" val="3491890925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0F034051-7576-1CD0-F903-0A83A7F941A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9280" y="1376954"/>
            <a:ext cx="7772400" cy="4443457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DF3707E7-8F6C-592A-9A19-8F27C622D96A}"/>
              </a:ext>
            </a:extLst>
          </p:cNvPr>
          <p:cNvSpPr txBox="1"/>
          <p:nvPr/>
        </p:nvSpPr>
        <p:spPr>
          <a:xfrm>
            <a:off x="4500905" y="3296555"/>
            <a:ext cx="7361549" cy="2031325"/>
          </a:xfrm>
          <a:prstGeom prst="rect">
            <a:avLst/>
          </a:prstGeom>
          <a:solidFill>
            <a:srgbClr val="FFFDF9">
              <a:alpha val="91933"/>
            </a:srgbClr>
          </a:solidFill>
          <a:ln w="12700"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r>
              <a:rPr lang="en-US" dirty="0"/>
              <a:t>On this screen you can add/change any number of </a:t>
            </a:r>
            <a:r>
              <a:rPr lang="en-US" b="1" u="sng" dirty="0">
                <a:solidFill>
                  <a:srgbClr val="00B050"/>
                </a:solidFill>
              </a:rPr>
              <a:t>Experts</a:t>
            </a:r>
            <a:r>
              <a:rPr lang="en-US" dirty="0"/>
              <a:t> or </a:t>
            </a:r>
            <a:r>
              <a:rPr lang="en-US" b="1" u="sng" dirty="0">
                <a:solidFill>
                  <a:srgbClr val="00B050"/>
                </a:solidFill>
              </a:rPr>
              <a:t>Owners</a:t>
            </a:r>
            <a:r>
              <a:rPr lang="en-US" dirty="0"/>
              <a:t> for a data asset.</a:t>
            </a:r>
          </a:p>
          <a:p>
            <a:endParaRPr lang="en-US" dirty="0"/>
          </a:p>
          <a:p>
            <a:r>
              <a:rPr lang="en-US" dirty="0"/>
              <a:t>Please note that this can be combination of groups and users.</a:t>
            </a:r>
          </a:p>
          <a:p>
            <a:endParaRPr lang="en-US" dirty="0"/>
          </a:p>
          <a:p>
            <a:r>
              <a:rPr lang="en-US" dirty="0"/>
              <a:t>It is preferable to only use groups and then maintain the users in these group using Entra ID.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0DD45E87-B24A-9187-6A8B-1AD4DFD3C7D0}"/>
              </a:ext>
            </a:extLst>
          </p:cNvPr>
          <p:cNvSpPr txBox="1"/>
          <p:nvPr/>
        </p:nvSpPr>
        <p:spPr>
          <a:xfrm>
            <a:off x="573603" y="578734"/>
            <a:ext cx="502733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1c - Edit a single </a:t>
            </a:r>
            <a:r>
              <a:rPr lang="en-US" b="1" dirty="0">
                <a:solidFill>
                  <a:schemeClr val="accent1">
                    <a:lumMod val="50000"/>
                  </a:schemeClr>
                </a:solidFill>
              </a:rPr>
              <a:t>data asset</a:t>
            </a:r>
            <a:r>
              <a:rPr lang="en-US" dirty="0"/>
              <a:t> – contact information</a:t>
            </a:r>
          </a:p>
        </p:txBody>
      </p:sp>
    </p:spTree>
    <p:extLst>
      <p:ext uri="{BB962C8B-B14F-4D97-AF65-F5344CB8AC3E}">
        <p14:creationId xmlns:p14="http://schemas.microsoft.com/office/powerpoint/2010/main" val="4220055883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DD4A272-94E2-EDDF-6A64-9A95749419E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E31F19E7-3263-C062-7143-1F5770228FA9}"/>
              </a:ext>
            </a:extLst>
          </p:cNvPr>
          <p:cNvSpPr txBox="1"/>
          <p:nvPr/>
        </p:nvSpPr>
        <p:spPr>
          <a:xfrm>
            <a:off x="4703975" y="2988297"/>
            <a:ext cx="24801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Edit multiple data asset</a:t>
            </a:r>
          </a:p>
        </p:txBody>
      </p:sp>
    </p:spTree>
    <p:extLst>
      <p:ext uri="{BB962C8B-B14F-4D97-AF65-F5344CB8AC3E}">
        <p14:creationId xmlns:p14="http://schemas.microsoft.com/office/powerpoint/2010/main" val="847958236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2823CB1E-7614-7E17-1F35-33857208C2D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90427" y="1243773"/>
            <a:ext cx="7772400" cy="4370453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E8D12EED-CFA8-A6BF-02E5-C51A8DCCBD39}"/>
              </a:ext>
            </a:extLst>
          </p:cNvPr>
          <p:cNvSpPr txBox="1"/>
          <p:nvPr/>
        </p:nvSpPr>
        <p:spPr>
          <a:xfrm>
            <a:off x="573603" y="578734"/>
            <a:ext cx="413581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2a - Select </a:t>
            </a:r>
            <a:r>
              <a:rPr lang="en-US" b="1" dirty="0">
                <a:solidFill>
                  <a:schemeClr val="accent1">
                    <a:lumMod val="50000"/>
                  </a:schemeClr>
                </a:solidFill>
              </a:rPr>
              <a:t>data assets</a:t>
            </a:r>
            <a:r>
              <a:rPr lang="en-US" dirty="0"/>
              <a:t> to be bulk edited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A8074C88-993F-5109-6AC1-81AA80EF6976}"/>
              </a:ext>
            </a:extLst>
          </p:cNvPr>
          <p:cNvSpPr txBox="1"/>
          <p:nvPr/>
        </p:nvSpPr>
        <p:spPr>
          <a:xfrm>
            <a:off x="4604601" y="2520599"/>
            <a:ext cx="7361549" cy="2031325"/>
          </a:xfrm>
          <a:prstGeom prst="rect">
            <a:avLst/>
          </a:prstGeom>
          <a:solidFill>
            <a:srgbClr val="FFFDF9">
              <a:alpha val="91933"/>
            </a:srgbClr>
          </a:solidFill>
          <a:ln w="12700"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r>
              <a:rPr lang="en-US" dirty="0"/>
              <a:t>When you press </a:t>
            </a:r>
            <a:r>
              <a:rPr lang="en-US" b="1" u="sng" dirty="0">
                <a:solidFill>
                  <a:srgbClr val="00B050"/>
                </a:solidFill>
              </a:rPr>
              <a:t>Select for bulk edit</a:t>
            </a:r>
            <a:r>
              <a:rPr lang="en-US" dirty="0"/>
              <a:t> the </a:t>
            </a:r>
            <a:r>
              <a:rPr lang="en-US" b="1" u="sng" dirty="0">
                <a:solidFill>
                  <a:srgbClr val="00B050"/>
                </a:solidFill>
              </a:rPr>
              <a:t>number</a:t>
            </a:r>
            <a:r>
              <a:rPr lang="en-US" dirty="0"/>
              <a:t> of selected data assets are show in the bottom of the screen.</a:t>
            </a:r>
          </a:p>
          <a:p>
            <a:endParaRPr lang="en-US" dirty="0"/>
          </a:p>
          <a:p>
            <a:r>
              <a:rPr lang="en-US" dirty="0"/>
              <a:t>You could press </a:t>
            </a:r>
            <a:r>
              <a:rPr lang="en-US" b="1" u="sng" dirty="0">
                <a:solidFill>
                  <a:srgbClr val="00B050"/>
                </a:solidFill>
              </a:rPr>
              <a:t>Remove from bulk edit </a:t>
            </a:r>
            <a:r>
              <a:rPr lang="en-US" dirty="0"/>
              <a:t>if you made a wrong selection.</a:t>
            </a:r>
          </a:p>
          <a:p>
            <a:endParaRPr lang="en-US" dirty="0"/>
          </a:p>
          <a:p>
            <a:r>
              <a:rPr lang="en-US" dirty="0"/>
              <a:t>When you are ready to continue with the bulk edit process, press </a:t>
            </a:r>
            <a:r>
              <a:rPr lang="en-US" b="1" u="sng" dirty="0">
                <a:solidFill>
                  <a:srgbClr val="00B050"/>
                </a:solidFill>
              </a:rPr>
              <a:t>View selected</a:t>
            </a:r>
          </a:p>
        </p:txBody>
      </p:sp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0FC7837F-D831-2B8B-F526-BC8C8F96FEE4}"/>
              </a:ext>
            </a:extLst>
          </p:cNvPr>
          <p:cNvCxnSpPr>
            <a:cxnSpLocks/>
          </p:cNvCxnSpPr>
          <p:nvPr/>
        </p:nvCxnSpPr>
        <p:spPr>
          <a:xfrm flipH="1">
            <a:off x="7909089" y="2808125"/>
            <a:ext cx="1020049" cy="2640568"/>
          </a:xfrm>
          <a:prstGeom prst="straightConnector1">
            <a:avLst/>
          </a:prstGeom>
          <a:ln w="25400">
            <a:solidFill>
              <a:srgbClr val="FF0000">
                <a:alpha val="50000"/>
              </a:srgb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A871A570-CEE6-2715-02CF-1D1AF383BC36}"/>
              </a:ext>
            </a:extLst>
          </p:cNvPr>
          <p:cNvCxnSpPr>
            <a:cxnSpLocks/>
          </p:cNvCxnSpPr>
          <p:nvPr/>
        </p:nvCxnSpPr>
        <p:spPr>
          <a:xfrm flipH="1">
            <a:off x="8135338" y="4211176"/>
            <a:ext cx="2969437" cy="1281625"/>
          </a:xfrm>
          <a:prstGeom prst="straightConnector1">
            <a:avLst/>
          </a:prstGeom>
          <a:ln w="25400">
            <a:solidFill>
              <a:srgbClr val="FF0000">
                <a:alpha val="50000"/>
              </a:srgb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67728905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E2C885E6-C6C8-0DDD-68CE-0A0EF28D75D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5840" y="1347468"/>
            <a:ext cx="7772400" cy="4370453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4D0359E5-35DA-A07B-74CB-7E67565D5189}"/>
              </a:ext>
            </a:extLst>
          </p:cNvPr>
          <p:cNvSpPr txBox="1"/>
          <p:nvPr/>
        </p:nvSpPr>
        <p:spPr>
          <a:xfrm>
            <a:off x="573603" y="578734"/>
            <a:ext cx="365330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2b - Select </a:t>
            </a:r>
            <a:r>
              <a:rPr lang="en-US" b="1" dirty="0">
                <a:solidFill>
                  <a:schemeClr val="accent1">
                    <a:lumMod val="50000"/>
                  </a:schemeClr>
                </a:solidFill>
              </a:rPr>
              <a:t>data assets</a:t>
            </a:r>
            <a:r>
              <a:rPr lang="en-US" dirty="0"/>
              <a:t> to be edited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4E77F0C-9B81-E25D-CDBE-16E5BB1B4645}"/>
              </a:ext>
            </a:extLst>
          </p:cNvPr>
          <p:cNvSpPr txBox="1"/>
          <p:nvPr/>
        </p:nvSpPr>
        <p:spPr>
          <a:xfrm>
            <a:off x="4604601" y="2520599"/>
            <a:ext cx="7361549" cy="2585323"/>
          </a:xfrm>
          <a:prstGeom prst="rect">
            <a:avLst/>
          </a:prstGeom>
          <a:solidFill>
            <a:srgbClr val="FFFDF9">
              <a:alpha val="91933"/>
            </a:srgbClr>
          </a:solidFill>
          <a:ln w="12700"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r>
              <a:rPr lang="en-US" dirty="0"/>
              <a:t>This screen shows the data assets </a:t>
            </a:r>
            <a:r>
              <a:rPr lang="en-US" b="1" u="sng" dirty="0">
                <a:solidFill>
                  <a:srgbClr val="00B050"/>
                </a:solidFill>
              </a:rPr>
              <a:t>Selected for bulk edit.</a:t>
            </a:r>
            <a:r>
              <a:rPr lang="en-US" dirty="0"/>
              <a:t> </a:t>
            </a:r>
          </a:p>
          <a:p>
            <a:endParaRPr lang="en-US" dirty="0"/>
          </a:p>
          <a:p>
            <a:r>
              <a:rPr lang="en-US" dirty="0"/>
              <a:t>You can press </a:t>
            </a:r>
            <a:r>
              <a:rPr lang="en-US" b="1" u="sng" dirty="0">
                <a:solidFill>
                  <a:srgbClr val="00B050"/>
                </a:solidFill>
              </a:rPr>
              <a:t>Bulk edit</a:t>
            </a:r>
            <a:r>
              <a:rPr lang="en-US" dirty="0"/>
              <a:t> and proceed.</a:t>
            </a:r>
          </a:p>
          <a:p>
            <a:endParaRPr lang="en-US" dirty="0"/>
          </a:p>
          <a:p>
            <a:r>
              <a:rPr lang="en-US" dirty="0"/>
              <a:t>You can also press </a:t>
            </a:r>
            <a:r>
              <a:rPr lang="en-US" b="1" u="sng" dirty="0">
                <a:solidFill>
                  <a:srgbClr val="00B050"/>
                </a:solidFill>
              </a:rPr>
              <a:t>Deselect all and close</a:t>
            </a:r>
            <a:r>
              <a:rPr lang="en-US" dirty="0"/>
              <a:t> to abort the bulk edit operation.</a:t>
            </a:r>
          </a:p>
          <a:p>
            <a:endParaRPr lang="en-US" dirty="0"/>
          </a:p>
          <a:p>
            <a:r>
              <a:rPr lang="en-US" dirty="0"/>
              <a:t>Or you can press </a:t>
            </a:r>
            <a:r>
              <a:rPr lang="en-US" b="1" u="sng" dirty="0">
                <a:solidFill>
                  <a:srgbClr val="00B050"/>
                </a:solidFill>
              </a:rPr>
              <a:t>Close</a:t>
            </a:r>
            <a:r>
              <a:rPr lang="en-US" dirty="0"/>
              <a:t> and continue adding more data assets for bulk edit.</a:t>
            </a:r>
          </a:p>
        </p:txBody>
      </p:sp>
    </p:spTree>
    <p:extLst>
      <p:ext uri="{BB962C8B-B14F-4D97-AF65-F5344CB8AC3E}">
        <p14:creationId xmlns:p14="http://schemas.microsoft.com/office/powerpoint/2010/main" val="4292431923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16A46137-DF5F-C2D7-639A-58FFF3B14FC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3866" y="1309761"/>
            <a:ext cx="7772400" cy="4370453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F4277694-F41F-427D-77F3-FAFCB44227F2}"/>
              </a:ext>
            </a:extLst>
          </p:cNvPr>
          <p:cNvSpPr txBox="1"/>
          <p:nvPr/>
        </p:nvSpPr>
        <p:spPr>
          <a:xfrm>
            <a:off x="573603" y="578734"/>
            <a:ext cx="617162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2c – Choose attributes for be bulk edited for the </a:t>
            </a:r>
            <a:r>
              <a:rPr lang="en-US" b="1" dirty="0">
                <a:solidFill>
                  <a:schemeClr val="accent1">
                    <a:lumMod val="50000"/>
                  </a:schemeClr>
                </a:solidFill>
              </a:rPr>
              <a:t>data assets</a:t>
            </a:r>
            <a:endParaRPr lang="en-US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A303B7E0-A09A-EA9A-C1AE-F1503BAA7465}"/>
              </a:ext>
            </a:extLst>
          </p:cNvPr>
          <p:cNvSpPr txBox="1"/>
          <p:nvPr/>
        </p:nvSpPr>
        <p:spPr>
          <a:xfrm>
            <a:off x="4689442" y="2202325"/>
            <a:ext cx="7361549" cy="3139321"/>
          </a:xfrm>
          <a:prstGeom prst="rect">
            <a:avLst/>
          </a:prstGeom>
          <a:solidFill>
            <a:srgbClr val="FFFDF9">
              <a:alpha val="91933"/>
            </a:srgbClr>
          </a:solidFill>
          <a:ln w="12700"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r>
              <a:rPr lang="en-US" dirty="0"/>
              <a:t>On this screen you can choose any number of combinations</a:t>
            </a:r>
          </a:p>
          <a:p>
            <a:r>
              <a:rPr lang="en-US" dirty="0"/>
              <a:t>of </a:t>
            </a:r>
            <a:r>
              <a:rPr lang="en-US" b="1" u="sng" dirty="0">
                <a:solidFill>
                  <a:srgbClr val="00B050"/>
                </a:solidFill>
              </a:rPr>
              <a:t>Attribute</a:t>
            </a:r>
            <a:r>
              <a:rPr lang="en-US" dirty="0"/>
              <a:t>, </a:t>
            </a:r>
            <a:r>
              <a:rPr lang="en-US" b="1" u="sng" dirty="0">
                <a:solidFill>
                  <a:srgbClr val="00B050"/>
                </a:solidFill>
              </a:rPr>
              <a:t>Operation</a:t>
            </a:r>
            <a:r>
              <a:rPr lang="en-US" dirty="0"/>
              <a:t> and </a:t>
            </a:r>
            <a:r>
              <a:rPr lang="en-US" b="1" u="sng" dirty="0">
                <a:solidFill>
                  <a:srgbClr val="00B050"/>
                </a:solidFill>
              </a:rPr>
              <a:t>New Value</a:t>
            </a:r>
            <a:r>
              <a:rPr lang="en-US" dirty="0"/>
              <a:t>.</a:t>
            </a:r>
          </a:p>
          <a:p>
            <a:endParaRPr lang="en-US" dirty="0"/>
          </a:p>
          <a:p>
            <a:r>
              <a:rPr lang="en-US" b="1" u="sng" dirty="0">
                <a:solidFill>
                  <a:srgbClr val="00B050"/>
                </a:solidFill>
              </a:rPr>
              <a:t>Attribut</a:t>
            </a:r>
            <a:r>
              <a:rPr lang="en-US" dirty="0"/>
              <a:t>e can be </a:t>
            </a:r>
            <a:r>
              <a:rPr lang="en-US" dirty="0">
                <a:solidFill>
                  <a:srgbClr val="00B050"/>
                </a:solidFill>
              </a:rPr>
              <a:t>Classification</a:t>
            </a:r>
            <a:r>
              <a:rPr lang="en-US" dirty="0"/>
              <a:t>, </a:t>
            </a:r>
            <a:r>
              <a:rPr lang="en-US" dirty="0">
                <a:solidFill>
                  <a:srgbClr val="00B050"/>
                </a:solidFill>
              </a:rPr>
              <a:t>Term (Glossary)</a:t>
            </a:r>
            <a:r>
              <a:rPr lang="en-US" dirty="0"/>
              <a:t>, </a:t>
            </a:r>
            <a:r>
              <a:rPr lang="en-US" dirty="0">
                <a:solidFill>
                  <a:srgbClr val="00B050"/>
                </a:solidFill>
              </a:rPr>
              <a:t>Owner</a:t>
            </a:r>
            <a:r>
              <a:rPr lang="en-US" dirty="0"/>
              <a:t>, </a:t>
            </a:r>
            <a:r>
              <a:rPr lang="en-US" dirty="0">
                <a:solidFill>
                  <a:srgbClr val="00B050"/>
                </a:solidFill>
              </a:rPr>
              <a:t>Expert</a:t>
            </a:r>
            <a:r>
              <a:rPr lang="en-US" dirty="0"/>
              <a:t> or </a:t>
            </a:r>
            <a:r>
              <a:rPr lang="en-US" dirty="0">
                <a:solidFill>
                  <a:srgbClr val="00B050"/>
                </a:solidFill>
              </a:rPr>
              <a:t>Certified</a:t>
            </a:r>
            <a:r>
              <a:rPr lang="en-US" dirty="0"/>
              <a:t>.</a:t>
            </a:r>
          </a:p>
          <a:p>
            <a:endParaRPr lang="en-US" dirty="0"/>
          </a:p>
          <a:p>
            <a:r>
              <a:rPr lang="en-US" b="1" u="sng" dirty="0">
                <a:solidFill>
                  <a:srgbClr val="00B050"/>
                </a:solidFill>
              </a:rPr>
              <a:t>Operation</a:t>
            </a:r>
            <a:r>
              <a:rPr lang="en-US" dirty="0"/>
              <a:t> can be </a:t>
            </a:r>
            <a:r>
              <a:rPr lang="en-US" dirty="0">
                <a:solidFill>
                  <a:srgbClr val="00B050"/>
                </a:solidFill>
              </a:rPr>
              <a:t>Add</a:t>
            </a:r>
            <a:r>
              <a:rPr lang="en-US" dirty="0"/>
              <a:t>, </a:t>
            </a:r>
            <a:r>
              <a:rPr lang="en-US" dirty="0">
                <a:solidFill>
                  <a:srgbClr val="00B050"/>
                </a:solidFill>
              </a:rPr>
              <a:t>Replace with </a:t>
            </a:r>
            <a:r>
              <a:rPr lang="en-US" dirty="0"/>
              <a:t>or </a:t>
            </a:r>
            <a:r>
              <a:rPr lang="en-US" dirty="0">
                <a:solidFill>
                  <a:srgbClr val="00B050"/>
                </a:solidFill>
              </a:rPr>
              <a:t>Remove</a:t>
            </a:r>
            <a:r>
              <a:rPr lang="en-US" dirty="0"/>
              <a:t>.</a:t>
            </a:r>
          </a:p>
          <a:p>
            <a:endParaRPr lang="en-US" dirty="0"/>
          </a:p>
          <a:p>
            <a:r>
              <a:rPr lang="en-US" b="1" u="sng" dirty="0">
                <a:solidFill>
                  <a:srgbClr val="00B050"/>
                </a:solidFill>
              </a:rPr>
              <a:t>New value </a:t>
            </a:r>
            <a:r>
              <a:rPr lang="en-US" dirty="0"/>
              <a:t>is the value that should be used with the </a:t>
            </a:r>
            <a:r>
              <a:rPr lang="en-US" dirty="0">
                <a:solidFill>
                  <a:srgbClr val="00B050"/>
                </a:solidFill>
              </a:rPr>
              <a:t>Operation</a:t>
            </a:r>
            <a:r>
              <a:rPr lang="en-US" dirty="0"/>
              <a:t>.</a:t>
            </a:r>
          </a:p>
          <a:p>
            <a:endParaRPr lang="en-US" dirty="0"/>
          </a:p>
          <a:p>
            <a:r>
              <a:rPr lang="en-US" dirty="0"/>
              <a:t>The </a:t>
            </a:r>
            <a:r>
              <a:rPr lang="en-US" b="1" u="sng" dirty="0">
                <a:solidFill>
                  <a:srgbClr val="00B050"/>
                </a:solidFill>
              </a:rPr>
              <a:t>Apply</a:t>
            </a:r>
            <a:r>
              <a:rPr lang="en-US" dirty="0"/>
              <a:t> button will make Purview do the changes.</a:t>
            </a:r>
          </a:p>
        </p:txBody>
      </p:sp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45540779-9EE4-4099-D66C-CA33FA7357C1}"/>
              </a:ext>
            </a:extLst>
          </p:cNvPr>
          <p:cNvCxnSpPr>
            <a:cxnSpLocks/>
          </p:cNvCxnSpPr>
          <p:nvPr/>
        </p:nvCxnSpPr>
        <p:spPr>
          <a:xfrm flipH="1">
            <a:off x="2450969" y="5231876"/>
            <a:ext cx="2752627" cy="311085"/>
          </a:xfrm>
          <a:prstGeom prst="straightConnector1">
            <a:avLst/>
          </a:prstGeom>
          <a:ln w="25400">
            <a:solidFill>
              <a:srgbClr val="FF0000">
                <a:alpha val="50000"/>
              </a:srgb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6453709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7E9CB56-8595-CBAC-EBB4-AFDAF073182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E2A2AB0C-17BD-2C27-55BB-00D5E1F44A82}"/>
              </a:ext>
            </a:extLst>
          </p:cNvPr>
          <p:cNvSpPr txBox="1"/>
          <p:nvPr/>
        </p:nvSpPr>
        <p:spPr>
          <a:xfrm>
            <a:off x="5714223" y="2603033"/>
            <a:ext cx="5759077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000" dirty="0">
                <a:latin typeface="Segoe UI" panose="020B0502040204020203" pitchFamily="34" charset="0"/>
                <a:cs typeface="Segoe UI" panose="020B0502040204020203" pitchFamily="34" charset="0"/>
              </a:rPr>
              <a:t>Other items in Data Map</a:t>
            </a:r>
            <a:endParaRPr lang="en-US" sz="4000" b="1" dirty="0">
              <a:solidFill>
                <a:schemeClr val="accent1">
                  <a:lumMod val="50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8788542-0942-F283-715F-97BF4046B11A}"/>
              </a:ext>
            </a:extLst>
          </p:cNvPr>
          <p:cNvSpPr txBox="1"/>
          <p:nvPr/>
        </p:nvSpPr>
        <p:spPr>
          <a:xfrm>
            <a:off x="106100" y="6331848"/>
            <a:ext cx="141018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chemeClr val="accent1">
                    <a:lumMod val="50000"/>
                  </a:schemeClr>
                </a:solidFill>
              </a:rPr>
              <a:t>Data Map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01751629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06944641-BEA2-908E-361F-181C2AFC627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4854" y="1255642"/>
            <a:ext cx="2250983" cy="5023624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179C4B28-2C04-5B9D-B487-735A388D432F}"/>
              </a:ext>
            </a:extLst>
          </p:cNvPr>
          <p:cNvSpPr txBox="1"/>
          <p:nvPr/>
        </p:nvSpPr>
        <p:spPr>
          <a:xfrm>
            <a:off x="424854" y="578734"/>
            <a:ext cx="517199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In the Data Map you will find also find other items.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5B26E3B-10AB-229A-7F8C-A810409A5ED7}"/>
              </a:ext>
            </a:extLst>
          </p:cNvPr>
          <p:cNvSpPr txBox="1"/>
          <p:nvPr/>
        </p:nvSpPr>
        <p:spPr>
          <a:xfrm>
            <a:off x="3601844" y="1089798"/>
            <a:ext cx="7786161" cy="56323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u="sng" dirty="0">
                <a:solidFill>
                  <a:schemeClr val="accent1">
                    <a:lumMod val="50000"/>
                  </a:schemeClr>
                </a:solidFill>
              </a:rPr>
              <a:t>Pattern rules </a:t>
            </a:r>
            <a:r>
              <a:rPr lang="en-US" dirty="0"/>
              <a:t>– this item is only available if you updated an existing Purview account to the new portal. It covers resource sets.</a:t>
            </a:r>
          </a:p>
          <a:p>
            <a:endParaRPr lang="en-US" dirty="0"/>
          </a:p>
          <a:p>
            <a:r>
              <a:rPr lang="en-US" b="1" u="sng" dirty="0">
                <a:solidFill>
                  <a:schemeClr val="accent1">
                    <a:lumMod val="50000"/>
                  </a:schemeClr>
                </a:solidFill>
              </a:rPr>
              <a:t>Integration Runtimes </a:t>
            </a:r>
            <a:r>
              <a:rPr lang="en-US" dirty="0"/>
              <a:t>– here you can see/register integration runtimes used by Purview for scans/data quality.</a:t>
            </a:r>
          </a:p>
          <a:p>
            <a:endParaRPr lang="en-US" b="1" u="sng" dirty="0">
              <a:solidFill>
                <a:schemeClr val="accent1">
                  <a:lumMod val="50000"/>
                </a:schemeClr>
              </a:solidFill>
            </a:endParaRPr>
          </a:p>
          <a:p>
            <a:r>
              <a:rPr lang="en-US" b="1" u="sng" dirty="0">
                <a:solidFill>
                  <a:schemeClr val="accent1">
                    <a:lumMod val="50000"/>
                  </a:schemeClr>
                </a:solidFill>
              </a:rPr>
              <a:t>Credentials </a:t>
            </a:r>
            <a:r>
              <a:rPr lang="en-US" dirty="0"/>
              <a:t>– for registering/seeing the different </a:t>
            </a:r>
            <a:r>
              <a:rPr lang="en-US" dirty="0" err="1"/>
              <a:t>KeyVault</a:t>
            </a:r>
            <a:r>
              <a:rPr lang="en-US" dirty="0"/>
              <a:t> stores Purview uses to get credentials for the login into the sources.</a:t>
            </a:r>
          </a:p>
          <a:p>
            <a:endParaRPr lang="en-US" b="1" u="sng" dirty="0">
              <a:solidFill>
                <a:schemeClr val="accent1">
                  <a:lumMod val="50000"/>
                </a:schemeClr>
              </a:solidFill>
            </a:endParaRPr>
          </a:p>
          <a:p>
            <a:r>
              <a:rPr lang="en-US" b="1" u="sng" dirty="0">
                <a:solidFill>
                  <a:schemeClr val="accent1">
                    <a:lumMod val="50000"/>
                  </a:schemeClr>
                </a:solidFill>
              </a:rPr>
              <a:t>Lineage connections </a:t>
            </a:r>
            <a:r>
              <a:rPr lang="en-US" dirty="0"/>
              <a:t>– for seeing/creating connection to </a:t>
            </a:r>
            <a:r>
              <a:rPr lang="en-US" u="sng" dirty="0"/>
              <a:t>Azure Data Factory</a:t>
            </a:r>
            <a:r>
              <a:rPr lang="en-US" dirty="0"/>
              <a:t> and </a:t>
            </a:r>
            <a:r>
              <a:rPr lang="en-US" u="sng" dirty="0"/>
              <a:t>Azure Data Share</a:t>
            </a:r>
            <a:r>
              <a:rPr lang="en-US" dirty="0"/>
              <a:t> used with Purview.</a:t>
            </a:r>
          </a:p>
          <a:p>
            <a:endParaRPr lang="en-US" b="1" u="sng" dirty="0">
              <a:solidFill>
                <a:schemeClr val="accent1">
                  <a:lumMod val="50000"/>
                </a:schemeClr>
              </a:solidFill>
            </a:endParaRPr>
          </a:p>
          <a:p>
            <a:r>
              <a:rPr lang="en-US" b="1" u="sng" dirty="0">
                <a:solidFill>
                  <a:schemeClr val="accent1">
                    <a:lumMod val="50000"/>
                  </a:schemeClr>
                </a:solidFill>
              </a:rPr>
              <a:t>Managed Identities </a:t>
            </a:r>
            <a:r>
              <a:rPr lang="en-US" dirty="0"/>
              <a:t>– points you to use the Azure Portal to maintain these identities.</a:t>
            </a:r>
          </a:p>
          <a:p>
            <a:endParaRPr lang="en-US" b="1" u="sng" dirty="0">
              <a:solidFill>
                <a:schemeClr val="accent1">
                  <a:lumMod val="50000"/>
                </a:schemeClr>
              </a:solidFill>
            </a:endParaRPr>
          </a:p>
          <a:p>
            <a:r>
              <a:rPr lang="en-US" b="1" u="sng" dirty="0">
                <a:solidFill>
                  <a:schemeClr val="accent1">
                    <a:lumMod val="50000"/>
                  </a:schemeClr>
                </a:solidFill>
              </a:rPr>
              <a:t>Connections</a:t>
            </a:r>
            <a:r>
              <a:rPr lang="en-US" dirty="0"/>
              <a:t> – connections used for </a:t>
            </a:r>
            <a:r>
              <a:rPr lang="en-US" u="sng" dirty="0"/>
              <a:t>workflows</a:t>
            </a:r>
            <a:r>
              <a:rPr lang="en-US" dirty="0"/>
              <a:t> and </a:t>
            </a:r>
            <a:r>
              <a:rPr lang="en-US" u="sng" dirty="0"/>
              <a:t>protection policies</a:t>
            </a:r>
            <a:r>
              <a:rPr lang="en-US" dirty="0"/>
              <a:t> (NOT for data quality)</a:t>
            </a:r>
          </a:p>
          <a:p>
            <a:endParaRPr lang="en-US" b="1" u="sng" dirty="0">
              <a:solidFill>
                <a:schemeClr val="accent1">
                  <a:lumMod val="50000"/>
                </a:schemeClr>
              </a:solidFill>
            </a:endParaRPr>
          </a:p>
          <a:p>
            <a:r>
              <a:rPr lang="en-US" b="1" u="sng" dirty="0">
                <a:solidFill>
                  <a:schemeClr val="accent1">
                    <a:lumMod val="50000"/>
                  </a:schemeClr>
                </a:solidFill>
              </a:rPr>
              <a:t>Managed private endpoints </a:t>
            </a:r>
            <a:r>
              <a:rPr lang="en-US" dirty="0"/>
              <a:t>– if you have setup Purview with Private Endpoint, connections can be maintained here.</a:t>
            </a:r>
          </a:p>
        </p:txBody>
      </p:sp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A8A6E7AF-C891-15B5-27E7-1977242C7340}"/>
              </a:ext>
            </a:extLst>
          </p:cNvPr>
          <p:cNvCxnSpPr>
            <a:cxnSpLocks/>
          </p:cNvCxnSpPr>
          <p:nvPr/>
        </p:nvCxnSpPr>
        <p:spPr>
          <a:xfrm flipH="1">
            <a:off x="1650380" y="1382751"/>
            <a:ext cx="2051825" cy="2286000"/>
          </a:xfrm>
          <a:prstGeom prst="straightConnector1">
            <a:avLst/>
          </a:prstGeom>
          <a:ln w="25400">
            <a:solidFill>
              <a:srgbClr val="FF0000">
                <a:alpha val="50000"/>
              </a:srgb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9920219A-77DE-4F4F-0310-D71984DA12A0}"/>
              </a:ext>
            </a:extLst>
          </p:cNvPr>
          <p:cNvCxnSpPr>
            <a:cxnSpLocks/>
          </p:cNvCxnSpPr>
          <p:nvPr/>
        </p:nvCxnSpPr>
        <p:spPr>
          <a:xfrm flipH="1">
            <a:off x="1851102" y="2196790"/>
            <a:ext cx="1851103" cy="1672683"/>
          </a:xfrm>
          <a:prstGeom prst="straightConnector1">
            <a:avLst/>
          </a:prstGeom>
          <a:ln w="25400">
            <a:solidFill>
              <a:srgbClr val="FF0000">
                <a:alpha val="50000"/>
              </a:srgb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2F640914-1D42-5886-AC51-FA11F87F6680}"/>
              </a:ext>
            </a:extLst>
          </p:cNvPr>
          <p:cNvCxnSpPr>
            <a:cxnSpLocks/>
          </p:cNvCxnSpPr>
          <p:nvPr/>
        </p:nvCxnSpPr>
        <p:spPr>
          <a:xfrm flipH="1">
            <a:off x="1650380" y="2999678"/>
            <a:ext cx="2051825" cy="1115122"/>
          </a:xfrm>
          <a:prstGeom prst="straightConnector1">
            <a:avLst/>
          </a:prstGeom>
          <a:ln w="25400">
            <a:solidFill>
              <a:srgbClr val="FF0000">
                <a:alpha val="50000"/>
              </a:srgb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592C3CEB-F4BC-AB49-CC4F-3778CFB891F0}"/>
              </a:ext>
            </a:extLst>
          </p:cNvPr>
          <p:cNvCxnSpPr>
            <a:cxnSpLocks/>
          </p:cNvCxnSpPr>
          <p:nvPr/>
        </p:nvCxnSpPr>
        <p:spPr>
          <a:xfrm flipH="1">
            <a:off x="2141034" y="3869473"/>
            <a:ext cx="1561171" cy="457200"/>
          </a:xfrm>
          <a:prstGeom prst="straightConnector1">
            <a:avLst/>
          </a:prstGeom>
          <a:ln w="25400">
            <a:solidFill>
              <a:srgbClr val="FF0000">
                <a:alpha val="50000"/>
              </a:srgb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B4AD9488-E4FE-B5EA-37BE-6296AD2314B1}"/>
              </a:ext>
            </a:extLst>
          </p:cNvPr>
          <p:cNvCxnSpPr>
            <a:cxnSpLocks/>
          </p:cNvCxnSpPr>
          <p:nvPr/>
        </p:nvCxnSpPr>
        <p:spPr>
          <a:xfrm flipH="1" flipV="1">
            <a:off x="2141034" y="4572000"/>
            <a:ext cx="1460810" cy="78059"/>
          </a:xfrm>
          <a:prstGeom prst="straightConnector1">
            <a:avLst/>
          </a:prstGeom>
          <a:ln w="25400">
            <a:solidFill>
              <a:srgbClr val="FF0000">
                <a:alpha val="50000"/>
              </a:srgb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6109B37D-24AC-F8E9-C261-8E50AEF08C08}"/>
              </a:ext>
            </a:extLst>
          </p:cNvPr>
          <p:cNvCxnSpPr>
            <a:cxnSpLocks/>
          </p:cNvCxnSpPr>
          <p:nvPr/>
        </p:nvCxnSpPr>
        <p:spPr>
          <a:xfrm flipH="1" flipV="1">
            <a:off x="1728439" y="4817327"/>
            <a:ext cx="1973766" cy="657922"/>
          </a:xfrm>
          <a:prstGeom prst="straightConnector1">
            <a:avLst/>
          </a:prstGeom>
          <a:ln w="25400">
            <a:solidFill>
              <a:srgbClr val="FF0000">
                <a:alpha val="50000"/>
              </a:srgb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E215C563-2316-8473-4991-D6C7A2E2463D}"/>
              </a:ext>
            </a:extLst>
          </p:cNvPr>
          <p:cNvCxnSpPr>
            <a:cxnSpLocks/>
          </p:cNvCxnSpPr>
          <p:nvPr/>
        </p:nvCxnSpPr>
        <p:spPr>
          <a:xfrm flipH="1" flipV="1">
            <a:off x="1984917" y="5096107"/>
            <a:ext cx="1717288" cy="925552"/>
          </a:xfrm>
          <a:prstGeom prst="straightConnector1">
            <a:avLst/>
          </a:prstGeom>
          <a:ln w="25400">
            <a:solidFill>
              <a:srgbClr val="FF0000">
                <a:alpha val="50000"/>
              </a:srgb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62288018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37C8E422-C8DF-4857-D9FD-64358322AF4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3663" y="1694398"/>
            <a:ext cx="7772400" cy="3469204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3A720869-6BA3-9AEC-ECE2-1978A9CF92E3}"/>
              </a:ext>
            </a:extLst>
          </p:cNvPr>
          <p:cNvSpPr txBox="1"/>
          <p:nvPr/>
        </p:nvSpPr>
        <p:spPr>
          <a:xfrm>
            <a:off x="424854" y="578734"/>
            <a:ext cx="26916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Data Map – Pattern Rules</a:t>
            </a:r>
          </a:p>
        </p:txBody>
      </p:sp>
    </p:spTree>
    <p:extLst>
      <p:ext uri="{BB962C8B-B14F-4D97-AF65-F5344CB8AC3E}">
        <p14:creationId xmlns:p14="http://schemas.microsoft.com/office/powerpoint/2010/main" val="616522107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4F870214-3BD0-B144-4FB4-363BEAA0E3D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7546" y="1605188"/>
            <a:ext cx="7772400" cy="3469204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C72D5DA8-B702-ADC8-1E42-11E81540BF19}"/>
              </a:ext>
            </a:extLst>
          </p:cNvPr>
          <p:cNvSpPr txBox="1"/>
          <p:nvPr/>
        </p:nvSpPr>
        <p:spPr>
          <a:xfrm>
            <a:off x="424854" y="578734"/>
            <a:ext cx="346896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Data Map – Integration Runtimes</a:t>
            </a:r>
          </a:p>
        </p:txBody>
      </p:sp>
    </p:spTree>
    <p:extLst>
      <p:ext uri="{BB962C8B-B14F-4D97-AF65-F5344CB8AC3E}">
        <p14:creationId xmlns:p14="http://schemas.microsoft.com/office/powerpoint/2010/main" val="279754695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90B8172E-05C5-17CC-4B7F-D483210CEF56}"/>
              </a:ext>
            </a:extLst>
          </p:cNvPr>
          <p:cNvSpPr txBox="1"/>
          <p:nvPr/>
        </p:nvSpPr>
        <p:spPr>
          <a:xfrm>
            <a:off x="833377" y="613458"/>
            <a:ext cx="398929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Step 1 – assign rights to the Data Map.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8023119-B2CC-172A-6C20-80BF3DA7D07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1942" y="1604495"/>
            <a:ext cx="7772400" cy="4223358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54BFDACF-C1C1-D5FA-E808-B74B2C89E641}"/>
              </a:ext>
            </a:extLst>
          </p:cNvPr>
          <p:cNvSpPr txBox="1"/>
          <p:nvPr/>
        </p:nvSpPr>
        <p:spPr>
          <a:xfrm>
            <a:off x="7357948" y="1861564"/>
            <a:ext cx="4583819" cy="3139321"/>
          </a:xfrm>
          <a:prstGeom prst="rect">
            <a:avLst/>
          </a:prstGeom>
          <a:solidFill>
            <a:srgbClr val="FFFDF9">
              <a:alpha val="60000"/>
            </a:srgbClr>
          </a:solidFill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In the </a:t>
            </a:r>
            <a:r>
              <a:rPr lang="en-US" b="1">
                <a:solidFill>
                  <a:schemeClr val="accent1">
                    <a:lumMod val="50000"/>
                  </a:schemeClr>
                </a:solidFill>
              </a:rPr>
              <a:t>Data Map </a:t>
            </a:r>
            <a:r>
              <a:rPr lang="en-US"/>
              <a:t>navigate to </a:t>
            </a:r>
            <a:r>
              <a:rPr lang="en-US" b="1">
                <a:solidFill>
                  <a:schemeClr val="accent1">
                    <a:lumMod val="50000"/>
                  </a:schemeClr>
                </a:solidFill>
              </a:rPr>
              <a:t>Domai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Click </a:t>
            </a:r>
            <a:r>
              <a:rPr lang="en-US" b="1">
                <a:solidFill>
                  <a:schemeClr val="accent1">
                    <a:lumMod val="50000"/>
                  </a:schemeClr>
                </a:solidFill>
              </a:rPr>
              <a:t>Role Assignmen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Under </a:t>
            </a:r>
            <a:r>
              <a:rPr lang="en-US" b="1">
                <a:solidFill>
                  <a:schemeClr val="accent1">
                    <a:lumMod val="50000"/>
                  </a:schemeClr>
                </a:solidFill>
              </a:rPr>
              <a:t>Data Source admins </a:t>
            </a:r>
            <a:r>
              <a:rPr lang="en-US"/>
              <a:t>add the right</a:t>
            </a:r>
            <a:br>
              <a:rPr lang="en-US"/>
            </a:br>
            <a:r>
              <a:rPr lang="en-US"/>
              <a:t>persons/groups that can add, scan and maintain the sources in Purview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Under </a:t>
            </a:r>
            <a:r>
              <a:rPr lang="en-US" b="1">
                <a:solidFill>
                  <a:schemeClr val="accent1">
                    <a:lumMod val="50000"/>
                  </a:schemeClr>
                </a:solidFill>
              </a:rPr>
              <a:t>Data curators</a:t>
            </a:r>
            <a:r>
              <a:rPr lang="en-US"/>
              <a:t> add the right persons/groups that can maintain the data-assets.</a:t>
            </a:r>
          </a:p>
        </p:txBody>
      </p:sp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B6DEFEB9-D9F7-F218-37FD-9647C9E638D7}"/>
              </a:ext>
            </a:extLst>
          </p:cNvPr>
          <p:cNvCxnSpPr>
            <a:cxnSpLocks/>
          </p:cNvCxnSpPr>
          <p:nvPr/>
        </p:nvCxnSpPr>
        <p:spPr>
          <a:xfrm flipH="1" flipV="1">
            <a:off x="1469985" y="1794076"/>
            <a:ext cx="5918220" cy="236619"/>
          </a:xfrm>
          <a:prstGeom prst="straightConnector1">
            <a:avLst/>
          </a:prstGeom>
          <a:ln w="25400">
            <a:solidFill>
              <a:srgbClr val="FF0000">
                <a:alpha val="50000"/>
              </a:srgb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60B5BF69-6BCF-3C38-57C9-43BE03153B90}"/>
              </a:ext>
            </a:extLst>
          </p:cNvPr>
          <p:cNvCxnSpPr>
            <a:cxnSpLocks/>
          </p:cNvCxnSpPr>
          <p:nvPr/>
        </p:nvCxnSpPr>
        <p:spPr>
          <a:xfrm flipH="1">
            <a:off x="5660020" y="2624140"/>
            <a:ext cx="1697928" cy="211657"/>
          </a:xfrm>
          <a:prstGeom prst="straightConnector1">
            <a:avLst/>
          </a:prstGeom>
          <a:ln w="25400">
            <a:solidFill>
              <a:srgbClr val="FF0000">
                <a:alpha val="50000"/>
              </a:srgb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62C852AB-715C-6BA4-228C-EC61B041206A}"/>
              </a:ext>
            </a:extLst>
          </p:cNvPr>
          <p:cNvCxnSpPr>
            <a:cxnSpLocks/>
          </p:cNvCxnSpPr>
          <p:nvPr/>
        </p:nvCxnSpPr>
        <p:spPr>
          <a:xfrm flipH="1">
            <a:off x="5544273" y="3184366"/>
            <a:ext cx="1755723" cy="716302"/>
          </a:xfrm>
          <a:prstGeom prst="straightConnector1">
            <a:avLst/>
          </a:prstGeom>
          <a:ln w="25400">
            <a:solidFill>
              <a:srgbClr val="FF0000">
                <a:alpha val="50000"/>
              </a:srgb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A29A1E1C-47BF-8432-7F82-EE324E1364F7}"/>
              </a:ext>
            </a:extLst>
          </p:cNvPr>
          <p:cNvCxnSpPr>
            <a:cxnSpLocks/>
          </p:cNvCxnSpPr>
          <p:nvPr/>
        </p:nvCxnSpPr>
        <p:spPr>
          <a:xfrm flipH="1">
            <a:off x="5660020" y="4616915"/>
            <a:ext cx="1755723" cy="716302"/>
          </a:xfrm>
          <a:prstGeom prst="straightConnector1">
            <a:avLst/>
          </a:prstGeom>
          <a:ln w="25400">
            <a:solidFill>
              <a:srgbClr val="FF0000">
                <a:alpha val="50000"/>
              </a:srgb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Box 21">
            <a:extLst>
              <a:ext uri="{FF2B5EF4-FFF2-40B4-BE49-F238E27FC236}">
                <a16:creationId xmlns:a16="http://schemas.microsoft.com/office/drawing/2014/main" id="{DD6BDF49-AE66-DA0C-19EB-5A93A4FAB529}"/>
              </a:ext>
            </a:extLst>
          </p:cNvPr>
          <p:cNvSpPr txBox="1"/>
          <p:nvPr/>
        </p:nvSpPr>
        <p:spPr>
          <a:xfrm>
            <a:off x="106100" y="6331848"/>
            <a:ext cx="141018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chemeClr val="accent1">
                    <a:lumMod val="50000"/>
                  </a:schemeClr>
                </a:solidFill>
              </a:rPr>
              <a:t>Data Map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14275684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53AD094B-8A8D-16E4-13C5-EA028FEAB06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1360" y="2203644"/>
            <a:ext cx="7772400" cy="2896761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C898A68F-11DA-E418-E60E-8F6FE333BAC7}"/>
              </a:ext>
            </a:extLst>
          </p:cNvPr>
          <p:cNvSpPr txBox="1"/>
          <p:nvPr/>
        </p:nvSpPr>
        <p:spPr>
          <a:xfrm>
            <a:off x="424854" y="578734"/>
            <a:ext cx="250183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Data Map – Credentials</a:t>
            </a:r>
          </a:p>
        </p:txBody>
      </p:sp>
    </p:spTree>
    <p:extLst>
      <p:ext uri="{BB962C8B-B14F-4D97-AF65-F5344CB8AC3E}">
        <p14:creationId xmlns:p14="http://schemas.microsoft.com/office/powerpoint/2010/main" val="2054561170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7447C87A-3239-9E80-DB1C-6C712DFB186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5966" y="1980619"/>
            <a:ext cx="7772400" cy="2896761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71BBAC06-B514-F63B-9F83-5F0CEC6442A9}"/>
              </a:ext>
            </a:extLst>
          </p:cNvPr>
          <p:cNvSpPr txBox="1"/>
          <p:nvPr/>
        </p:nvSpPr>
        <p:spPr>
          <a:xfrm>
            <a:off x="424854" y="578734"/>
            <a:ext cx="342593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Data Map – Lineage connections</a:t>
            </a:r>
          </a:p>
        </p:txBody>
      </p:sp>
    </p:spTree>
    <p:extLst>
      <p:ext uri="{BB962C8B-B14F-4D97-AF65-F5344CB8AC3E}">
        <p14:creationId xmlns:p14="http://schemas.microsoft.com/office/powerpoint/2010/main" val="1741739982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735C9B2B-7421-51FF-45B5-9BF6507BE69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9880" y="1980619"/>
            <a:ext cx="7772400" cy="2896761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8FFE6BE9-A001-9EBC-2E79-E9CDCDA8CFB5}"/>
              </a:ext>
            </a:extLst>
          </p:cNvPr>
          <p:cNvSpPr txBox="1"/>
          <p:nvPr/>
        </p:nvSpPr>
        <p:spPr>
          <a:xfrm>
            <a:off x="424854" y="578734"/>
            <a:ext cx="329769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Data Map – Managed identities</a:t>
            </a:r>
          </a:p>
        </p:txBody>
      </p:sp>
    </p:spTree>
    <p:extLst>
      <p:ext uri="{BB962C8B-B14F-4D97-AF65-F5344CB8AC3E}">
        <p14:creationId xmlns:p14="http://schemas.microsoft.com/office/powerpoint/2010/main" val="1222627861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3C870F9B-F143-4794-D6F0-6350F88AF67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6840" y="1980619"/>
            <a:ext cx="7772400" cy="2896761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5AB433E2-BD89-309D-7B12-6B491311D645}"/>
              </a:ext>
            </a:extLst>
          </p:cNvPr>
          <p:cNvSpPr txBox="1"/>
          <p:nvPr/>
        </p:nvSpPr>
        <p:spPr>
          <a:xfrm>
            <a:off x="424854" y="578734"/>
            <a:ext cx="26308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Data Map – Connections</a:t>
            </a:r>
          </a:p>
        </p:txBody>
      </p:sp>
    </p:spTree>
    <p:extLst>
      <p:ext uri="{BB962C8B-B14F-4D97-AF65-F5344CB8AC3E}">
        <p14:creationId xmlns:p14="http://schemas.microsoft.com/office/powerpoint/2010/main" val="2720497309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D459E203-9D26-06AD-0A32-727F83D9BF0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9400" y="2143179"/>
            <a:ext cx="7772400" cy="2896761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FC5F8F8C-3907-1EC3-A172-9664CF638B3E}"/>
              </a:ext>
            </a:extLst>
          </p:cNvPr>
          <p:cNvSpPr txBox="1"/>
          <p:nvPr/>
        </p:nvSpPr>
        <p:spPr>
          <a:xfrm>
            <a:off x="424854" y="578734"/>
            <a:ext cx="312207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Data Map – Private Endpoints</a:t>
            </a:r>
          </a:p>
        </p:txBody>
      </p:sp>
    </p:spTree>
    <p:extLst>
      <p:ext uri="{BB962C8B-B14F-4D97-AF65-F5344CB8AC3E}">
        <p14:creationId xmlns:p14="http://schemas.microsoft.com/office/powerpoint/2010/main" val="415480673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DF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70721AD6-70ED-17FB-29A7-C368B30D517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8264" y="1786669"/>
            <a:ext cx="7448010" cy="4052759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75F2713F-1273-07AC-22B4-34BF4A5A2AD6}"/>
              </a:ext>
            </a:extLst>
          </p:cNvPr>
          <p:cNvSpPr txBox="1"/>
          <p:nvPr/>
        </p:nvSpPr>
        <p:spPr>
          <a:xfrm>
            <a:off x="601884" y="578734"/>
            <a:ext cx="388606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Step 2 – Establish a </a:t>
            </a:r>
            <a:r>
              <a:rPr lang="en-US" b="1">
                <a:solidFill>
                  <a:schemeClr val="accent1">
                    <a:lumMod val="50000"/>
                  </a:schemeClr>
                </a:solidFill>
              </a:rPr>
              <a:t>domain</a:t>
            </a:r>
            <a:r>
              <a:rPr lang="en-US"/>
              <a:t> structure.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F9B9891-85DD-7940-E93D-D6F0376C649D}"/>
              </a:ext>
            </a:extLst>
          </p:cNvPr>
          <p:cNvSpPr txBox="1"/>
          <p:nvPr/>
        </p:nvSpPr>
        <p:spPr>
          <a:xfrm>
            <a:off x="4387769" y="2539220"/>
            <a:ext cx="7561429" cy="2308324"/>
          </a:xfrm>
          <a:prstGeom prst="rect">
            <a:avLst/>
          </a:prstGeom>
          <a:solidFill>
            <a:srgbClr val="FFFDF9">
              <a:alpha val="75000"/>
            </a:srgbClr>
          </a:solidFill>
        </p:spPr>
        <p:txBody>
          <a:bodyPr wrap="none" rtlCol="0">
            <a:spAutoFit/>
          </a:bodyPr>
          <a:lstStyle/>
          <a:p>
            <a:r>
              <a:rPr lang="en-US" dirty="0"/>
              <a:t>The </a:t>
            </a:r>
            <a:r>
              <a:rPr lang="en-US" b="1" u="sng" dirty="0">
                <a:solidFill>
                  <a:schemeClr val="accent1">
                    <a:lumMod val="50000"/>
                  </a:schemeClr>
                </a:solidFill>
              </a:rPr>
              <a:t>domains</a:t>
            </a:r>
            <a:r>
              <a:rPr lang="en-US" dirty="0"/>
              <a:t> is a way to separate different “environments” from each other.</a:t>
            </a:r>
          </a:p>
          <a:p>
            <a:endParaRPr lang="en-US" dirty="0"/>
          </a:p>
          <a:p>
            <a:r>
              <a:rPr lang="en-US" dirty="0"/>
              <a:t>The first/top/</a:t>
            </a:r>
            <a:r>
              <a:rPr lang="en-US" b="1" u="sng" dirty="0">
                <a:solidFill>
                  <a:schemeClr val="accent1">
                    <a:lumMod val="50000"/>
                  </a:schemeClr>
                </a:solidFill>
              </a:rPr>
              <a:t>default</a:t>
            </a:r>
            <a:r>
              <a:rPr lang="en-US" b="1" u="sng" dirty="0"/>
              <a:t> </a:t>
            </a:r>
            <a:r>
              <a:rPr lang="en-US" b="1" u="sng" dirty="0">
                <a:solidFill>
                  <a:schemeClr val="accent1">
                    <a:lumMod val="50000"/>
                  </a:schemeClr>
                </a:solidFill>
              </a:rPr>
              <a:t>domain</a:t>
            </a:r>
            <a:r>
              <a:rPr lang="en-US" dirty="0"/>
              <a:t> should (read ”must”) reflect your </a:t>
            </a:r>
            <a:br>
              <a:rPr lang="en-US" dirty="0"/>
            </a:br>
            <a:r>
              <a:rPr lang="en-US" dirty="0"/>
              <a:t>production Purview content. </a:t>
            </a:r>
          </a:p>
          <a:p>
            <a:endParaRPr lang="en-US" dirty="0"/>
          </a:p>
          <a:p>
            <a:r>
              <a:rPr lang="en-US" dirty="0"/>
              <a:t>The other </a:t>
            </a:r>
            <a:r>
              <a:rPr lang="en-US" b="1" dirty="0">
                <a:solidFill>
                  <a:schemeClr val="accent1">
                    <a:lumMod val="50000"/>
                  </a:schemeClr>
                </a:solidFill>
              </a:rPr>
              <a:t>domains</a:t>
            </a:r>
            <a:r>
              <a:rPr lang="en-US" dirty="0"/>
              <a:t> can be used for testing, sandboxes, projects etc.</a:t>
            </a:r>
          </a:p>
          <a:p>
            <a:endParaRPr lang="en-US" dirty="0"/>
          </a:p>
          <a:p>
            <a:r>
              <a:rPr lang="en-US" dirty="0"/>
              <a:t>Notice: You can have a maximum 5 </a:t>
            </a:r>
            <a:r>
              <a:rPr lang="en-US" b="1" u="sng" dirty="0">
                <a:solidFill>
                  <a:schemeClr val="accent1">
                    <a:lumMod val="50000"/>
                  </a:schemeClr>
                </a:solidFill>
              </a:rPr>
              <a:t>domains</a:t>
            </a:r>
            <a:r>
              <a:rPr lang="en-US" dirty="0"/>
              <a:t>.</a:t>
            </a:r>
          </a:p>
        </p:txBody>
      </p:sp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049EDCFA-D72B-FDF9-F6FB-8873BADDAED9}"/>
              </a:ext>
            </a:extLst>
          </p:cNvPr>
          <p:cNvCxnSpPr>
            <a:cxnSpLocks/>
          </p:cNvCxnSpPr>
          <p:nvPr/>
        </p:nvCxnSpPr>
        <p:spPr>
          <a:xfrm flipH="1" flipV="1">
            <a:off x="2858947" y="2383154"/>
            <a:ext cx="2062910" cy="447510"/>
          </a:xfrm>
          <a:prstGeom prst="straightConnector1">
            <a:avLst/>
          </a:prstGeom>
          <a:ln w="25400">
            <a:solidFill>
              <a:srgbClr val="FF0000">
                <a:alpha val="50000"/>
              </a:srgb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FEA1F18E-5F73-42E3-5FC1-E24CCBA301C1}"/>
              </a:ext>
            </a:extLst>
          </p:cNvPr>
          <p:cNvCxnSpPr>
            <a:cxnSpLocks/>
          </p:cNvCxnSpPr>
          <p:nvPr/>
        </p:nvCxnSpPr>
        <p:spPr>
          <a:xfrm flipH="1" flipV="1">
            <a:off x="2858947" y="3044142"/>
            <a:ext cx="2961408" cy="327211"/>
          </a:xfrm>
          <a:prstGeom prst="straightConnector1">
            <a:avLst/>
          </a:prstGeom>
          <a:ln w="25400">
            <a:solidFill>
              <a:srgbClr val="FF0000">
                <a:alpha val="50000"/>
              </a:srgb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E51FA0C9-050B-1C30-6D67-9A6F419137F1}"/>
              </a:ext>
            </a:extLst>
          </p:cNvPr>
          <p:cNvCxnSpPr>
            <a:cxnSpLocks/>
          </p:cNvCxnSpPr>
          <p:nvPr/>
        </p:nvCxnSpPr>
        <p:spPr>
          <a:xfrm flipH="1">
            <a:off x="3020992" y="4746929"/>
            <a:ext cx="4954166" cy="940409"/>
          </a:xfrm>
          <a:prstGeom prst="straightConnector1">
            <a:avLst/>
          </a:prstGeom>
          <a:ln w="25400">
            <a:solidFill>
              <a:srgbClr val="FF0000">
                <a:alpha val="50000"/>
              </a:srgb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Box 21">
            <a:extLst>
              <a:ext uri="{FF2B5EF4-FFF2-40B4-BE49-F238E27FC236}">
                <a16:creationId xmlns:a16="http://schemas.microsoft.com/office/drawing/2014/main" id="{E8D31FD2-07C2-7642-1C9B-D4FD7A7CD699}"/>
              </a:ext>
            </a:extLst>
          </p:cNvPr>
          <p:cNvSpPr txBox="1"/>
          <p:nvPr/>
        </p:nvSpPr>
        <p:spPr>
          <a:xfrm>
            <a:off x="106100" y="6331848"/>
            <a:ext cx="141018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>
                <a:solidFill>
                  <a:schemeClr val="accent1">
                    <a:lumMod val="50000"/>
                  </a:schemeClr>
                </a:solidFill>
              </a:rPr>
              <a:t>Data Map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2459710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DF9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92054915-3464-8B0C-3297-AC7AA57E792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B5AAA39C-04E2-13C7-B4CB-3C6A34F3234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1412" y="1298757"/>
            <a:ext cx="9110687" cy="4980509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971ABFEA-85CD-8CFC-7483-4A6D4F953422}"/>
              </a:ext>
            </a:extLst>
          </p:cNvPr>
          <p:cNvSpPr txBox="1"/>
          <p:nvPr/>
        </p:nvSpPr>
        <p:spPr>
          <a:xfrm>
            <a:off x="601884" y="578734"/>
            <a:ext cx="574073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Step 3 – Establish a </a:t>
            </a:r>
            <a:r>
              <a:rPr lang="en-US" b="1">
                <a:solidFill>
                  <a:schemeClr val="accent1">
                    <a:lumMod val="50000"/>
                  </a:schemeClr>
                </a:solidFill>
              </a:rPr>
              <a:t>collection</a:t>
            </a:r>
            <a:r>
              <a:rPr lang="en-US"/>
              <a:t> structure in the </a:t>
            </a:r>
            <a:r>
              <a:rPr lang="en-US" b="1">
                <a:solidFill>
                  <a:schemeClr val="accent1">
                    <a:lumMod val="50000"/>
                  </a:schemeClr>
                </a:solidFill>
              </a:rPr>
              <a:t>Data Map</a:t>
            </a:r>
            <a:r>
              <a:rPr lang="en-US"/>
              <a:t>.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A527B4E-8901-01E5-3F62-300D1B24A3BA}"/>
              </a:ext>
            </a:extLst>
          </p:cNvPr>
          <p:cNvSpPr txBox="1"/>
          <p:nvPr/>
        </p:nvSpPr>
        <p:spPr>
          <a:xfrm>
            <a:off x="7901686" y="2996139"/>
            <a:ext cx="4109316" cy="1846659"/>
          </a:xfrm>
          <a:prstGeom prst="rect">
            <a:avLst/>
          </a:prstGeom>
          <a:solidFill>
            <a:srgbClr val="FFFDF9">
              <a:alpha val="75000"/>
            </a:srgbClr>
          </a:solidFill>
        </p:spPr>
        <p:txBody>
          <a:bodyPr wrap="square" rtlCol="0">
            <a:spAutoFit/>
          </a:bodyPr>
          <a:lstStyle/>
          <a:p>
            <a:r>
              <a:rPr lang="en-US" dirty="0"/>
              <a:t>The </a:t>
            </a:r>
            <a:r>
              <a:rPr lang="en-US" b="1" u="sng" dirty="0">
                <a:solidFill>
                  <a:schemeClr val="accent1">
                    <a:lumMod val="50000"/>
                  </a:schemeClr>
                </a:solidFill>
              </a:rPr>
              <a:t>collections</a:t>
            </a:r>
            <a:r>
              <a:rPr lang="en-US" dirty="0"/>
              <a:t> is a way to separate</a:t>
            </a:r>
            <a:br>
              <a:rPr lang="en-US" dirty="0"/>
            </a:br>
            <a:r>
              <a:rPr lang="en-US" dirty="0"/>
              <a:t>different </a:t>
            </a:r>
            <a:r>
              <a:rPr lang="en-US" b="1" u="sng" dirty="0">
                <a:solidFill>
                  <a:schemeClr val="accent1">
                    <a:lumMod val="50000"/>
                  </a:schemeClr>
                </a:solidFill>
              </a:rPr>
              <a:t>sources</a:t>
            </a:r>
            <a:r>
              <a:rPr lang="en-US" b="1" dirty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en-US" dirty="0"/>
              <a:t>from each other.</a:t>
            </a:r>
          </a:p>
          <a:p>
            <a:endParaRPr lang="en-US" dirty="0"/>
          </a:p>
          <a:p>
            <a:r>
              <a:rPr lang="en-US" dirty="0"/>
              <a:t>Note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A source can only present </a:t>
            </a:r>
            <a:r>
              <a:rPr lang="en-US" sz="1400" b="1" dirty="0">
                <a:solidFill>
                  <a:schemeClr val="accent1">
                    <a:lumMod val="50000"/>
                  </a:schemeClr>
                </a:solidFill>
              </a:rPr>
              <a:t>once</a:t>
            </a:r>
            <a:r>
              <a:rPr lang="en-US" sz="1400" dirty="0"/>
              <a:t> in Purview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You can have as many collections as you pref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A source can be moved between collections</a:t>
            </a:r>
          </a:p>
        </p:txBody>
      </p:sp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DD27EF32-F7DE-8C49-9C7D-1E5442D1E694}"/>
              </a:ext>
            </a:extLst>
          </p:cNvPr>
          <p:cNvCxnSpPr>
            <a:cxnSpLocks/>
          </p:cNvCxnSpPr>
          <p:nvPr/>
        </p:nvCxnSpPr>
        <p:spPr>
          <a:xfrm flipH="1">
            <a:off x="5868365" y="3285241"/>
            <a:ext cx="2559198" cy="503770"/>
          </a:xfrm>
          <a:prstGeom prst="straightConnector1">
            <a:avLst/>
          </a:prstGeom>
          <a:ln w="25400">
            <a:solidFill>
              <a:srgbClr val="FF0000">
                <a:alpha val="50000"/>
              </a:srgb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524DBC7D-B841-AD9F-E166-FC3F74BC1A22}"/>
              </a:ext>
            </a:extLst>
          </p:cNvPr>
          <p:cNvCxnSpPr>
            <a:cxnSpLocks/>
          </p:cNvCxnSpPr>
          <p:nvPr/>
        </p:nvCxnSpPr>
        <p:spPr>
          <a:xfrm flipH="1">
            <a:off x="6096000" y="3572759"/>
            <a:ext cx="2802903" cy="1080264"/>
          </a:xfrm>
          <a:prstGeom prst="straightConnector1">
            <a:avLst/>
          </a:prstGeom>
          <a:ln w="25400">
            <a:solidFill>
              <a:srgbClr val="FF0000">
                <a:alpha val="50000"/>
              </a:srgb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7">
            <a:extLst>
              <a:ext uri="{FF2B5EF4-FFF2-40B4-BE49-F238E27FC236}">
                <a16:creationId xmlns:a16="http://schemas.microsoft.com/office/drawing/2014/main" id="{19059D2D-82ED-5976-0E15-74B4E1CCFDED}"/>
              </a:ext>
            </a:extLst>
          </p:cNvPr>
          <p:cNvSpPr txBox="1"/>
          <p:nvPr/>
        </p:nvSpPr>
        <p:spPr>
          <a:xfrm>
            <a:off x="106100" y="6331848"/>
            <a:ext cx="141018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>
                <a:solidFill>
                  <a:schemeClr val="accent1">
                    <a:lumMod val="50000"/>
                  </a:schemeClr>
                </a:solidFill>
              </a:rPr>
              <a:t>Data Map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073497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73C39F56-FE48-66F1-20C1-CE747CF7F517}"/>
              </a:ext>
            </a:extLst>
          </p:cNvPr>
          <p:cNvSpPr txBox="1"/>
          <p:nvPr/>
        </p:nvSpPr>
        <p:spPr>
          <a:xfrm>
            <a:off x="601884" y="578734"/>
            <a:ext cx="436741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Step 4 – Register </a:t>
            </a:r>
            <a:r>
              <a:rPr lang="en-US" b="1">
                <a:solidFill>
                  <a:schemeClr val="accent1">
                    <a:lumMod val="50000"/>
                  </a:schemeClr>
                </a:solidFill>
              </a:rPr>
              <a:t>sources</a:t>
            </a:r>
            <a:r>
              <a:rPr lang="en-US"/>
              <a:t> in the </a:t>
            </a:r>
            <a:r>
              <a:rPr lang="en-US" b="1">
                <a:solidFill>
                  <a:schemeClr val="accent1">
                    <a:lumMod val="50000"/>
                  </a:schemeClr>
                </a:solidFill>
              </a:rPr>
              <a:t>Data Map</a:t>
            </a:r>
            <a:r>
              <a:rPr lang="en-US"/>
              <a:t>.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F6FFEBE3-744A-C674-74F9-68FE1C527A7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1884" y="1578891"/>
            <a:ext cx="7772400" cy="4302099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ABA04785-A63F-6691-2B48-B4F53AA32D45}"/>
              </a:ext>
            </a:extLst>
          </p:cNvPr>
          <p:cNvSpPr txBox="1"/>
          <p:nvPr/>
        </p:nvSpPr>
        <p:spPr>
          <a:xfrm>
            <a:off x="7866962" y="3396139"/>
            <a:ext cx="4109316" cy="1846659"/>
          </a:xfrm>
          <a:prstGeom prst="rect">
            <a:avLst/>
          </a:prstGeom>
          <a:solidFill>
            <a:srgbClr val="FFFDF9">
              <a:alpha val="75000"/>
            </a:srgbClr>
          </a:solidFill>
        </p:spPr>
        <p:txBody>
          <a:bodyPr wrap="square" rtlCol="0">
            <a:spAutoFit/>
          </a:bodyPr>
          <a:lstStyle/>
          <a:p>
            <a:r>
              <a:rPr lang="en-US" dirty="0"/>
              <a:t>At the </a:t>
            </a:r>
            <a:r>
              <a:rPr lang="en-US" b="1" dirty="0"/>
              <a:t>data sources you are </a:t>
            </a:r>
            <a:r>
              <a:rPr lang="en-US" dirty="0"/>
              <a:t>able to </a:t>
            </a:r>
            <a:r>
              <a:rPr lang="en-US" b="1" u="sng" dirty="0">
                <a:solidFill>
                  <a:schemeClr val="accent1">
                    <a:lumMod val="50000"/>
                  </a:schemeClr>
                </a:solidFill>
              </a:rPr>
              <a:t>register</a:t>
            </a:r>
            <a:r>
              <a:rPr lang="en-US" dirty="0"/>
              <a:t> your </a:t>
            </a:r>
            <a:r>
              <a:rPr lang="en-US" b="1" u="sng" dirty="0">
                <a:solidFill>
                  <a:schemeClr val="accent1">
                    <a:lumMod val="50000"/>
                  </a:schemeClr>
                </a:solidFill>
              </a:rPr>
              <a:t>databases</a:t>
            </a:r>
            <a:r>
              <a:rPr lang="en-US" dirty="0"/>
              <a:t> etc..</a:t>
            </a:r>
          </a:p>
          <a:p>
            <a:endParaRPr lang="en-US" dirty="0"/>
          </a:p>
          <a:p>
            <a:r>
              <a:rPr lang="en-US" dirty="0"/>
              <a:t>Note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A source can only present </a:t>
            </a:r>
            <a:r>
              <a:rPr lang="en-US" sz="1400" b="1" dirty="0">
                <a:solidFill>
                  <a:schemeClr val="accent1">
                    <a:lumMod val="50000"/>
                  </a:schemeClr>
                </a:solidFill>
              </a:rPr>
              <a:t>once</a:t>
            </a:r>
            <a:r>
              <a:rPr lang="en-US" sz="1400" dirty="0"/>
              <a:t> in Purview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A list of sources and how to configure them</a:t>
            </a:r>
            <a:br>
              <a:rPr lang="en-US" sz="1400" dirty="0"/>
            </a:br>
            <a:r>
              <a:rPr lang="en-US" sz="1400" dirty="0"/>
              <a:t>can be found </a:t>
            </a:r>
            <a:r>
              <a:rPr lang="en-US" sz="1400" dirty="0">
                <a:hlinkClick r:id="rId3"/>
              </a:rPr>
              <a:t>here</a:t>
            </a:r>
            <a:r>
              <a:rPr lang="en-US" sz="1400" dirty="0"/>
              <a:t>.</a:t>
            </a:r>
          </a:p>
        </p:txBody>
      </p:sp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C60F1B4A-E1DE-F576-DA95-8CE848B35CE6}"/>
              </a:ext>
            </a:extLst>
          </p:cNvPr>
          <p:cNvCxnSpPr>
            <a:cxnSpLocks/>
          </p:cNvCxnSpPr>
          <p:nvPr/>
        </p:nvCxnSpPr>
        <p:spPr>
          <a:xfrm flipH="1" flipV="1">
            <a:off x="902825" y="2095018"/>
            <a:ext cx="7043971" cy="1864240"/>
          </a:xfrm>
          <a:prstGeom prst="straightConnector1">
            <a:avLst/>
          </a:prstGeom>
          <a:ln w="25400">
            <a:solidFill>
              <a:srgbClr val="FF0000">
                <a:alpha val="50000"/>
              </a:srgb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1EDBB428-F12C-1E2A-E804-B33333535E08}"/>
              </a:ext>
            </a:extLst>
          </p:cNvPr>
          <p:cNvCxnSpPr>
            <a:cxnSpLocks/>
          </p:cNvCxnSpPr>
          <p:nvPr/>
        </p:nvCxnSpPr>
        <p:spPr>
          <a:xfrm flipH="1">
            <a:off x="6516547" y="3959258"/>
            <a:ext cx="2731148" cy="601177"/>
          </a:xfrm>
          <a:prstGeom prst="straightConnector1">
            <a:avLst/>
          </a:prstGeom>
          <a:ln w="25400">
            <a:solidFill>
              <a:srgbClr val="FF0000">
                <a:alpha val="50000"/>
              </a:srgb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20">
            <a:extLst>
              <a:ext uri="{FF2B5EF4-FFF2-40B4-BE49-F238E27FC236}">
                <a16:creationId xmlns:a16="http://schemas.microsoft.com/office/drawing/2014/main" id="{58791DC1-B8B9-61AF-021A-C2F8C2352173}"/>
              </a:ext>
            </a:extLst>
          </p:cNvPr>
          <p:cNvSpPr txBox="1"/>
          <p:nvPr/>
        </p:nvSpPr>
        <p:spPr>
          <a:xfrm>
            <a:off x="106100" y="6331848"/>
            <a:ext cx="141018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>
                <a:solidFill>
                  <a:schemeClr val="accent1">
                    <a:lumMod val="50000"/>
                  </a:schemeClr>
                </a:solidFill>
              </a:rPr>
              <a:t>Data Map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141527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7615D3E-2DFB-E76E-3ABE-54648B79BBC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8014D748-9EC2-5B7F-EDA0-EE6CAA52628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74453" y="1886672"/>
            <a:ext cx="3150045" cy="4739833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6E450826-B912-2572-F9EE-833A39BAF87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1884" y="1104193"/>
            <a:ext cx="3965620" cy="4829021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46CC06FB-6922-2876-B32B-D131B64BCB59}"/>
              </a:ext>
            </a:extLst>
          </p:cNvPr>
          <p:cNvSpPr txBox="1"/>
          <p:nvPr/>
        </p:nvSpPr>
        <p:spPr>
          <a:xfrm>
            <a:off x="601884" y="578734"/>
            <a:ext cx="403674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Step 5 – Scan </a:t>
            </a:r>
            <a:r>
              <a:rPr lang="en-US" b="1">
                <a:solidFill>
                  <a:schemeClr val="accent1">
                    <a:lumMod val="50000"/>
                  </a:schemeClr>
                </a:solidFill>
              </a:rPr>
              <a:t>sources</a:t>
            </a:r>
            <a:r>
              <a:rPr lang="en-US"/>
              <a:t> in the </a:t>
            </a:r>
            <a:r>
              <a:rPr lang="en-US" b="1">
                <a:solidFill>
                  <a:schemeClr val="accent1">
                    <a:lumMod val="50000"/>
                  </a:schemeClr>
                </a:solidFill>
              </a:rPr>
              <a:t>Data Map</a:t>
            </a:r>
            <a:r>
              <a:rPr lang="en-US"/>
              <a:t>.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CBC5718-8391-A0F8-1531-C9E788E59066}"/>
              </a:ext>
            </a:extLst>
          </p:cNvPr>
          <p:cNvSpPr txBox="1"/>
          <p:nvPr/>
        </p:nvSpPr>
        <p:spPr>
          <a:xfrm>
            <a:off x="7901686" y="3329879"/>
            <a:ext cx="4109316" cy="2339102"/>
          </a:xfrm>
          <a:prstGeom prst="rect">
            <a:avLst/>
          </a:prstGeom>
          <a:solidFill>
            <a:srgbClr val="FFFDF9">
              <a:alpha val="75000"/>
            </a:srgbClr>
          </a:solidFill>
        </p:spPr>
        <p:txBody>
          <a:bodyPr wrap="square" rtlCol="0">
            <a:spAutoFit/>
          </a:bodyPr>
          <a:lstStyle/>
          <a:p>
            <a:r>
              <a:rPr lang="en-US" dirty="0"/>
              <a:t>The </a:t>
            </a:r>
            <a:r>
              <a:rPr lang="en-US" b="1" u="sng" dirty="0">
                <a:solidFill>
                  <a:schemeClr val="accent1">
                    <a:lumMod val="50000"/>
                  </a:schemeClr>
                </a:solidFill>
              </a:rPr>
              <a:t>scans</a:t>
            </a:r>
            <a:r>
              <a:rPr lang="en-US" dirty="0"/>
              <a:t> runs a metadata query against the </a:t>
            </a:r>
            <a:r>
              <a:rPr lang="en-US" b="1" dirty="0">
                <a:solidFill>
                  <a:schemeClr val="accent1">
                    <a:lumMod val="50000"/>
                  </a:schemeClr>
                </a:solidFill>
              </a:rPr>
              <a:t>source</a:t>
            </a:r>
            <a:r>
              <a:rPr lang="en-US" dirty="0"/>
              <a:t> and register the </a:t>
            </a:r>
            <a:br>
              <a:rPr lang="en-US" dirty="0"/>
            </a:br>
            <a:r>
              <a:rPr lang="en-US" b="1" u="sng" dirty="0">
                <a:solidFill>
                  <a:schemeClr val="accent1">
                    <a:lumMod val="50000"/>
                  </a:schemeClr>
                </a:solidFill>
              </a:rPr>
              <a:t>data assets</a:t>
            </a:r>
          </a:p>
          <a:p>
            <a:endParaRPr lang="en-US" dirty="0"/>
          </a:p>
          <a:p>
            <a:r>
              <a:rPr lang="en-US" dirty="0"/>
              <a:t>Note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Depending on the source different </a:t>
            </a:r>
            <a:r>
              <a:rPr lang="en-US" sz="1400" b="1" u="sng" dirty="0">
                <a:solidFill>
                  <a:schemeClr val="accent1">
                    <a:lumMod val="50000"/>
                  </a:schemeClr>
                </a:solidFill>
              </a:rPr>
              <a:t>inputs</a:t>
            </a:r>
            <a:r>
              <a:rPr lang="en-US" sz="1400" dirty="0"/>
              <a:t> are requested by Purview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A list of sources and how to configure them</a:t>
            </a:r>
            <a:br>
              <a:rPr lang="en-US" sz="1400" dirty="0"/>
            </a:br>
            <a:r>
              <a:rPr lang="en-US" sz="1400" dirty="0"/>
              <a:t>can be found </a:t>
            </a:r>
            <a:r>
              <a:rPr lang="en-US" sz="1400" dirty="0">
                <a:hlinkClick r:id="rId4"/>
              </a:rPr>
              <a:t>here</a:t>
            </a:r>
            <a:r>
              <a:rPr lang="en-US" sz="1400" dirty="0"/>
              <a:t>.</a:t>
            </a:r>
          </a:p>
        </p:txBody>
      </p:sp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28392ADA-CFF6-1D67-83C2-A3171402060E}"/>
              </a:ext>
            </a:extLst>
          </p:cNvPr>
          <p:cNvCxnSpPr>
            <a:cxnSpLocks/>
          </p:cNvCxnSpPr>
          <p:nvPr/>
        </p:nvCxnSpPr>
        <p:spPr>
          <a:xfrm flipH="1" flipV="1">
            <a:off x="1446835" y="2249187"/>
            <a:ext cx="6943021" cy="1332999"/>
          </a:xfrm>
          <a:prstGeom prst="straightConnector1">
            <a:avLst/>
          </a:prstGeom>
          <a:ln w="25400">
            <a:solidFill>
              <a:srgbClr val="FF0000">
                <a:alpha val="50000"/>
              </a:srgb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EBE4A36B-1DA3-D775-2927-FC4D441DF5EE}"/>
              </a:ext>
            </a:extLst>
          </p:cNvPr>
          <p:cNvCxnSpPr>
            <a:cxnSpLocks/>
          </p:cNvCxnSpPr>
          <p:nvPr/>
        </p:nvCxnSpPr>
        <p:spPr>
          <a:xfrm flipH="1" flipV="1">
            <a:off x="2479249" y="2842931"/>
            <a:ext cx="5422437" cy="1286009"/>
          </a:xfrm>
          <a:prstGeom prst="straightConnector1">
            <a:avLst/>
          </a:prstGeom>
          <a:ln w="25400">
            <a:solidFill>
              <a:srgbClr val="FF0000">
                <a:alpha val="50000"/>
              </a:srgb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A673075B-3F3A-945A-9685-50CCB45F2BE7}"/>
              </a:ext>
            </a:extLst>
          </p:cNvPr>
          <p:cNvCxnSpPr>
            <a:cxnSpLocks/>
          </p:cNvCxnSpPr>
          <p:nvPr/>
        </p:nvCxnSpPr>
        <p:spPr>
          <a:xfrm flipH="1" flipV="1">
            <a:off x="5879939" y="4368136"/>
            <a:ext cx="5055154" cy="543229"/>
          </a:xfrm>
          <a:prstGeom prst="straightConnector1">
            <a:avLst/>
          </a:prstGeom>
          <a:ln w="25400">
            <a:solidFill>
              <a:srgbClr val="FF0000">
                <a:alpha val="50000"/>
              </a:srgb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13BCF59E-A9AD-AC13-7601-98A101AE13F8}"/>
              </a:ext>
            </a:extLst>
          </p:cNvPr>
          <p:cNvCxnSpPr>
            <a:cxnSpLocks/>
          </p:cNvCxnSpPr>
          <p:nvPr/>
        </p:nvCxnSpPr>
        <p:spPr>
          <a:xfrm>
            <a:off x="11194648" y="4256588"/>
            <a:ext cx="0" cy="0"/>
          </a:xfrm>
          <a:prstGeom prst="line">
            <a:avLst/>
          </a:prstGeom>
          <a:ln w="25400">
            <a:solidFill>
              <a:srgbClr val="FF0000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TextBox 51">
            <a:extLst>
              <a:ext uri="{FF2B5EF4-FFF2-40B4-BE49-F238E27FC236}">
                <a16:creationId xmlns:a16="http://schemas.microsoft.com/office/drawing/2014/main" id="{37C7CD84-058B-2ECD-AF66-81FA9C16455E}"/>
              </a:ext>
            </a:extLst>
          </p:cNvPr>
          <p:cNvSpPr txBox="1"/>
          <p:nvPr/>
        </p:nvSpPr>
        <p:spPr>
          <a:xfrm>
            <a:off x="106100" y="6331848"/>
            <a:ext cx="141018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>
                <a:solidFill>
                  <a:schemeClr val="accent1">
                    <a:lumMod val="50000"/>
                  </a:schemeClr>
                </a:solidFill>
              </a:rPr>
              <a:t>Data Map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623844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itle Slides">
  <a:themeElements>
    <a:clrScheme name="Custom 1">
      <a:dk1>
        <a:srgbClr val="225B61"/>
      </a:dk1>
      <a:lt1>
        <a:srgbClr val="000000"/>
      </a:lt1>
      <a:dk2>
        <a:srgbClr val="B9DCD2"/>
      </a:dk2>
      <a:lt2>
        <a:srgbClr val="49C5B1"/>
      </a:lt2>
      <a:accent1>
        <a:srgbClr val="8DE971"/>
      </a:accent1>
      <a:accent2>
        <a:srgbClr val="0078D3"/>
      </a:accent2>
      <a:accent3>
        <a:srgbClr val="8661C5"/>
      </a:accent3>
      <a:accent4>
        <a:srgbClr val="C03BC3"/>
      </a:accent4>
      <a:accent5>
        <a:srgbClr val="FFB900"/>
      </a:accent5>
      <a:accent6>
        <a:srgbClr val="F3364C"/>
      </a:accent6>
      <a:hlink>
        <a:srgbClr val="225B61"/>
      </a:hlink>
      <a:folHlink>
        <a:srgbClr val="8DC8E8"/>
      </a:folHlink>
    </a:clrScheme>
    <a:fontScheme name="Custom 20">
      <a:majorFont>
        <a:latin typeface="Segoe Sans Display"/>
        <a:ea typeface=""/>
        <a:cs typeface=""/>
      </a:majorFont>
      <a:minorFont>
        <a:latin typeface="Segoe Sans Text Semi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V2Color _Microsoft Fabric Master Slide Template PPT" id="{C4955310-1F75-CB41-AE88-3C74BC568F8B}" vid="{D64952BC-5741-F749-9CC7-11175F2699D5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86D235E0236944CB2D0154C00AD9253" ma:contentTypeVersion="26" ma:contentTypeDescription="Create a new document." ma:contentTypeScope="" ma:versionID="41aa48f0d0fcd022d15edc1db881b801">
  <xsd:schema xmlns:xsd="http://www.w3.org/2001/XMLSchema" xmlns:xs="http://www.w3.org/2001/XMLSchema" xmlns:p="http://schemas.microsoft.com/office/2006/metadata/properties" xmlns:ns1="http://schemas.microsoft.com/sharepoint/v3" xmlns:ns2="07c5dfa0-33a3-47dd-bfb7-87fb96739115" xmlns:ns3="b1c3d6fc-5689-40cc-899d-3b916b4ff5bf" xmlns:ns4="230e9df3-be65-4c73-a93b-d1236ebd677e" targetNamespace="http://schemas.microsoft.com/office/2006/metadata/properties" ma:root="true" ma:fieldsID="ad11de25f3f36b6e7a16ba6e6aa81921" ns1:_="" ns2:_="" ns3:_="" ns4:_="">
    <xsd:import namespace="http://schemas.microsoft.com/sharepoint/v3"/>
    <xsd:import namespace="07c5dfa0-33a3-47dd-bfb7-87fb96739115"/>
    <xsd:import namespace="b1c3d6fc-5689-40cc-899d-3b916b4ff5bf"/>
    <xsd:import namespace="230e9df3-be65-4c73-a93b-d1236ebd677e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Status" minOccurs="0"/>
                <xsd:element ref="ns1:_ip_UnifiedCompliancePolicyProperties" minOccurs="0"/>
                <xsd:element ref="ns1:_ip_UnifiedCompliancePolicyUIAction" minOccurs="0"/>
                <xsd:element ref="ns2:MediaLengthInSeconds" minOccurs="0"/>
                <xsd:element ref="ns2:lcf76f155ced4ddcb4097134ff3c332f" minOccurs="0"/>
                <xsd:element ref="ns4:TaxCatchAll" minOccurs="0"/>
                <xsd:element ref="ns2:Date" minOccurs="0"/>
                <xsd:element ref="ns2:Time" minOccurs="0"/>
                <xsd:element ref="ns2:test" minOccurs="0"/>
                <xsd:element ref="ns2:MediaServiceLocation" minOccurs="0"/>
                <xsd:element ref="ns2:MediaServiceSearchProperties" minOccurs="0"/>
                <xsd:element ref="ns2:MediaServiceDocTags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19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20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7c5dfa0-33a3-47dd-bfb7-87fb9673911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Status" ma:index="18" nillable="true" ma:displayName="Status" ma:format="Dropdown" ma:internalName="Status">
      <xsd:simpleType>
        <xsd:restriction base="dms:Text">
          <xsd:maxLength value="255"/>
        </xsd:restriction>
      </xsd:simpleType>
    </xsd:element>
    <xsd:element name="MediaLengthInSeconds" ma:index="21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Image Tags" ma:readOnly="false" ma:fieldId="{5cf76f15-5ced-4ddc-b409-7134ff3c332f}" ma:taxonomyMulti="true" ma:sspId="e385fb40-52d4-4fae-9c5b-3e8ff8a5878e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Date" ma:index="25" nillable="true" ma:displayName="Date" ma:format="DateOnly" ma:internalName="Date">
      <xsd:simpleType>
        <xsd:restriction base="dms:DateTime"/>
      </xsd:simpleType>
    </xsd:element>
    <xsd:element name="Time" ma:index="26" nillable="true" ma:displayName="Time" ma:format="DateTime" ma:internalName="Time">
      <xsd:simpleType>
        <xsd:restriction base="dms:DateTime"/>
      </xsd:simpleType>
    </xsd:element>
    <xsd:element name="test" ma:index="27" nillable="true" ma:displayName="test" ma:format="DateOnly" ma:internalName="test">
      <xsd:simpleType>
        <xsd:restriction base="dms:DateTime"/>
      </xsd:simpleType>
    </xsd:element>
    <xsd:element name="MediaServiceLocation" ma:index="28" nillable="true" ma:displayName="Location" ma:internalName="MediaServiceLocation" ma:readOnly="true">
      <xsd:simpleType>
        <xsd:restriction base="dms:Text"/>
      </xsd:simpleType>
    </xsd:element>
    <xsd:element name="MediaServiceSearchProperties" ma:index="29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DocTags" ma:index="30" nillable="true" ma:displayName="MediaServiceDocTags" ma:hidden="true" ma:internalName="MediaServiceDocTags" ma:readOnly="true">
      <xsd:simpleType>
        <xsd:restriction base="dms:Note"/>
      </xsd:simpleType>
    </xsd:element>
    <xsd:element name="MediaServiceObjectDetectorVersions" ma:index="3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1c3d6fc-5689-40cc-899d-3b916b4ff5bf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30e9df3-be65-4c73-a93b-d1236ebd677e" elementFormDefault="qualified">
    <xsd:import namespace="http://schemas.microsoft.com/office/2006/documentManagement/types"/>
    <xsd:import namespace="http://schemas.microsoft.com/office/infopath/2007/PartnerControls"/>
    <xsd:element name="TaxCatchAll" ma:index="24" nillable="true" ma:displayName="Taxonomy Catch All Column" ma:hidden="true" ma:list="{1603ea5b-56ba-41f6-bada-27c0bbbe9ac1}" ma:internalName="TaxCatchAll" ma:showField="CatchAllData" ma:web="b1c3d6fc-5689-40cc-899d-3b916b4ff5bf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ip_UnifiedCompliancePolicyUIAction xmlns="http://schemas.microsoft.com/sharepoint/v3" xsi:nil="true"/>
    <_ip_UnifiedCompliancePolicyProperties xmlns="http://schemas.microsoft.com/sharepoint/v3" xsi:nil="true"/>
    <SharedWithUsers xmlns="b1c3d6fc-5689-40cc-899d-3b916b4ff5bf">
      <UserInfo>
        <DisplayName>Ronald Chang</DisplayName>
        <AccountId>26</AccountId>
        <AccountType/>
      </UserInfo>
      <UserInfo>
        <DisplayName>Ellie Lawler</DisplayName>
        <AccountId>207</AccountId>
        <AccountType/>
      </UserInfo>
      <UserInfo>
        <DisplayName>Miwa Monji</DisplayName>
        <AccountId>136</AccountId>
        <AccountType/>
      </UserInfo>
      <UserInfo>
        <DisplayName>Sharif Islam</DisplayName>
        <AccountId>622</AccountId>
        <AccountType/>
      </UserInfo>
      <UserInfo>
        <DisplayName>Jeeva Akr</DisplayName>
        <AccountId>39</AccountId>
        <AccountType/>
      </UserInfo>
      <UserInfo>
        <DisplayName>Jason Pereira</DisplayName>
        <AccountId>1123</AccountId>
        <AccountType/>
      </UserInfo>
      <UserInfo>
        <DisplayName>Will Johnson (GBB)</DisplayName>
        <AccountId>470</AccountId>
        <AccountType/>
      </UserInfo>
      <UserInfo>
        <DisplayName>Thasmika Gokal</DisplayName>
        <AccountId>142</AccountId>
        <AccountType/>
      </UserInfo>
      <UserInfo>
        <DisplayName>Cillian Mitchell</DisplayName>
        <AccountId>36</AccountId>
        <AccountType/>
      </UserInfo>
      <UserInfo>
        <DisplayName>Rajeev Jain</DisplayName>
        <AccountId>110</AccountId>
        <AccountType/>
      </UserInfo>
      <UserInfo>
        <DisplayName>Nellie Vasiliev (AG Consulting Partners, Inc.)</DisplayName>
        <AccountId>16</AccountId>
        <AccountType/>
      </UserInfo>
      <UserInfo>
        <DisplayName>Binaka Sankaran</DisplayName>
        <AccountId>745</AccountId>
        <AccountType/>
      </UserInfo>
      <UserInfo>
        <DisplayName>Ege Onelcin</DisplayName>
        <AccountId>42</AccountId>
        <AccountType/>
      </UserInfo>
      <UserInfo>
        <DisplayName>Karlien Vanden Eynde</DisplayName>
        <AccountId>18</AccountId>
        <AccountType/>
      </UserInfo>
      <UserInfo>
        <DisplayName>Swetha Mannepalli</DisplayName>
        <AccountId>8</AccountId>
        <AccountType/>
      </UserInfo>
      <UserInfo>
        <DisplayName>Dan Houdek</DisplayName>
        <AccountId>95</AccountId>
        <AccountType/>
      </UserInfo>
      <UserInfo>
        <DisplayName>Carlos Herquinio</DisplayName>
        <AccountId>1441</AccountId>
        <AccountType/>
      </UserInfo>
      <UserInfo>
        <DisplayName>Mohini Verma</DisplayName>
        <AccountId>1442</AccountId>
        <AccountType/>
      </UserInfo>
      <UserInfo>
        <DisplayName>Leighton Searle</DisplayName>
        <AccountId>1427</AccountId>
        <AccountType/>
      </UserInfo>
      <UserInfo>
        <DisplayName>Vaishali Chawan</DisplayName>
        <AccountId>633</AccountId>
        <AccountType/>
      </UserInfo>
      <UserInfo>
        <DisplayName>Tonio Lora</DisplayName>
        <AccountId>673</AccountId>
        <AccountType/>
      </UserInfo>
      <UserInfo>
        <DisplayName>Craig Butler</DisplayName>
        <AccountId>1158</AccountId>
        <AccountType/>
      </UserInfo>
      <UserInfo>
        <DisplayName>Kathrine Lord</DisplayName>
        <AccountId>1443</AccountId>
        <AccountType/>
      </UserInfo>
      <UserInfo>
        <DisplayName>Nilesh Khatri</DisplayName>
        <AccountId>826</AccountId>
        <AccountType/>
      </UserInfo>
      <UserInfo>
        <DisplayName>Mark Chen</DisplayName>
        <AccountId>813</AccountId>
        <AccountType/>
      </UserInfo>
      <UserInfo>
        <DisplayName>Suma Manohar</DisplayName>
        <AccountId>827</AccountId>
        <AccountType/>
      </UserInfo>
      <UserInfo>
        <DisplayName>Mo Lin</DisplayName>
        <AccountId>679</AccountId>
        <AccountType/>
      </UserInfo>
      <UserInfo>
        <DisplayName>Ravikanth Musti</DisplayName>
        <AccountId>639</AccountId>
        <AccountType/>
      </UserInfo>
      <UserInfo>
        <DisplayName>Debananda Ghosh</DisplayName>
        <AccountId>488</AccountId>
        <AccountType/>
      </UserInfo>
      <UserInfo>
        <DisplayName>Sana Sanai</DisplayName>
        <AccountId>825</AccountId>
        <AccountType/>
      </UserInfo>
      <UserInfo>
        <DisplayName>Nazeer Ali Mohammed</DisplayName>
        <AccountId>635</AccountId>
        <AccountType/>
      </UserInfo>
      <UserInfo>
        <DisplayName>Elizabeth Antoine</DisplayName>
        <AccountId>829</AccountId>
        <AccountType/>
      </UserInfo>
      <UserInfo>
        <DisplayName>Amjad Muhammad Khan</DisplayName>
        <AccountId>759</AccountId>
        <AccountType/>
      </UserInfo>
      <UserInfo>
        <DisplayName>Ayman Dabees</DisplayName>
        <AccountId>692</AccountId>
        <AccountType/>
      </UserInfo>
      <UserInfo>
        <DisplayName>Keyuna Evans (CELA)</DisplayName>
        <AccountId>239</AccountId>
        <AccountType/>
      </UserInfo>
      <UserInfo>
        <DisplayName>Nevenka Scott</DisplayName>
        <AccountId>1139</AccountId>
        <AccountType/>
      </UserInfo>
      <UserInfo>
        <DisplayName>Brian Robinson (CELA)</DisplayName>
        <AccountId>988</AccountId>
        <AccountType/>
      </UserInfo>
      <UserInfo>
        <DisplayName>Nicholas Wolfe (CELA)</DisplayName>
        <AccountId>1452</AccountId>
        <AccountType/>
      </UserInfo>
      <UserInfo>
        <DisplayName>Phiania Macpherson</DisplayName>
        <AccountId>1470</AccountId>
        <AccountType/>
      </UserInfo>
      <UserInfo>
        <DisplayName>Tulsi Wansai [Chillibreeze]</DisplayName>
        <AccountId>1419</AccountId>
        <AccountType/>
      </UserInfo>
      <UserInfo>
        <DisplayName>Wangui McKelvey</DisplayName>
        <AccountId>567</AccountId>
        <AccountType/>
      </UserInfo>
      <UserInfo>
        <DisplayName>Jermey Evans (CW)</DisplayName>
        <AccountId>644</AccountId>
        <AccountType/>
      </UserInfo>
      <UserInfo>
        <DisplayName>Macy Byerly</DisplayName>
        <AccountId>1617</AccountId>
        <AccountType/>
      </UserInfo>
      <UserInfo>
        <DisplayName>Rachel Bshero</DisplayName>
        <AccountId>573</AccountId>
        <AccountType/>
      </UserInfo>
      <UserInfo>
        <DisplayName>Lauren Ward</DisplayName>
        <AccountId>345</AccountId>
        <AccountType/>
      </UserInfo>
      <UserInfo>
        <DisplayName>Tyler Mays-Childers (he/him)</DisplayName>
        <AccountId>33</AccountId>
        <AccountType/>
      </UserInfo>
      <UserInfo>
        <DisplayName>Katherine Smiley (We Are Rosie LLC)</DisplayName>
        <AccountId>1341</AccountId>
        <AccountType/>
      </UserInfo>
    </SharedWithUsers>
    <TaxCatchAll xmlns="230e9df3-be65-4c73-a93b-d1236ebd677e" xsi:nil="true"/>
    <lcf76f155ced4ddcb4097134ff3c332f xmlns="07c5dfa0-33a3-47dd-bfb7-87fb96739115">
      <Terms xmlns="http://schemas.microsoft.com/office/infopath/2007/PartnerControls"/>
    </lcf76f155ced4ddcb4097134ff3c332f>
    <test xmlns="07c5dfa0-33a3-47dd-bfb7-87fb96739115" xsi:nil="true"/>
    <Time xmlns="07c5dfa0-33a3-47dd-bfb7-87fb96739115" xsi:nil="true"/>
    <Status xmlns="07c5dfa0-33a3-47dd-bfb7-87fb96739115" xsi:nil="true"/>
    <Date xmlns="07c5dfa0-33a3-47dd-bfb7-87fb96739115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8552522C-5F65-440E-AA4D-509D313DDD7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07c5dfa0-33a3-47dd-bfb7-87fb96739115"/>
    <ds:schemaRef ds:uri="b1c3d6fc-5689-40cc-899d-3b916b4ff5bf"/>
    <ds:schemaRef ds:uri="230e9df3-be65-4c73-a93b-d1236ebd677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FAA2F610-1193-44B2-A4F0-A119C8973799}">
  <ds:schemaRefs>
    <ds:schemaRef ds:uri="http://schemas.microsoft.com/sharepoint/v3"/>
    <ds:schemaRef ds:uri="07c5dfa0-33a3-47dd-bfb7-87fb96739115"/>
    <ds:schemaRef ds:uri="http://www.w3.org/XML/1998/namespace"/>
    <ds:schemaRef ds:uri="http://purl.org/dc/elements/1.1/"/>
    <ds:schemaRef ds:uri="http://purl.org/dc/dcmitype/"/>
    <ds:schemaRef ds:uri="http://schemas.microsoft.com/office/2006/documentManagement/types"/>
    <ds:schemaRef ds:uri="http://purl.org/dc/terms/"/>
    <ds:schemaRef ds:uri="230e9df3-be65-4c73-a93b-d1236ebd677e"/>
    <ds:schemaRef ds:uri="http://schemas.microsoft.com/office/infopath/2007/PartnerControls"/>
    <ds:schemaRef ds:uri="http://schemas.microsoft.com/office/2006/metadata/properties"/>
    <ds:schemaRef ds:uri="http://schemas.openxmlformats.org/package/2006/metadata/core-properties"/>
    <ds:schemaRef ds:uri="b1c3d6fc-5689-40cc-899d-3b916b4ff5bf"/>
  </ds:schemaRefs>
</ds:datastoreItem>
</file>

<file path=customXml/itemProps3.xml><?xml version="1.0" encoding="utf-8"?>
<ds:datastoreItem xmlns:ds="http://schemas.openxmlformats.org/officeDocument/2006/customXml" ds:itemID="{9D5624A2-8889-4574-B194-C786A1454E54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87867195-f2b8-4ac2-b0b6-6bb73cb33afc}" enabled="1" method="Privileged" siteId="{72f988bf-86f1-41af-91ab-2d7cd011db47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2689</TotalTime>
  <Words>2618</Words>
  <Application>Microsoft Macintosh PowerPoint</Application>
  <PresentationFormat>Widescreen</PresentationFormat>
  <Paragraphs>322</Paragraphs>
  <Slides>54</Slides>
  <Notes>1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4</vt:i4>
      </vt:variant>
    </vt:vector>
  </HeadingPairs>
  <TitlesOfParts>
    <vt:vector size="61" baseType="lpstr">
      <vt:lpstr>Aptos</vt:lpstr>
      <vt:lpstr>Arial</vt:lpstr>
      <vt:lpstr>Segoe Sans Display</vt:lpstr>
      <vt:lpstr>Segoe Sans Small Semilight</vt:lpstr>
      <vt:lpstr>Segoe UI</vt:lpstr>
      <vt:lpstr>Title Slides</vt:lpstr>
      <vt:lpstr>think-cell Slide</vt:lpstr>
      <vt:lpstr>Governance and Compliance with Microsoft Purview  A getting started gu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urview-overview</dc:title>
  <dc:creator>Cillian Mitchell</dc:creator>
  <cp:lastModifiedBy>Jan Cordtz</cp:lastModifiedBy>
  <cp:revision>9</cp:revision>
  <cp:lastPrinted>2025-06-18T05:57:52Z</cp:lastPrinted>
  <dcterms:created xsi:type="dcterms:W3CDTF">2024-01-23T16:36:38Z</dcterms:created>
  <dcterms:modified xsi:type="dcterms:W3CDTF">2026-01-13T07:15:5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86D235E0236944CB2D0154C00AD9253</vt:lpwstr>
  </property>
  <property fmtid="{D5CDD505-2E9C-101B-9397-08002B2CF9AE}" pid="3" name="MediaServiceImageTags">
    <vt:lpwstr/>
  </property>
  <property fmtid="{D5CDD505-2E9C-101B-9397-08002B2CF9AE}" pid="4" name="_dlc_policyId">
    <vt:lpwstr>0x01010070AB3889E58DB141A6E1281B02136174|-369733750</vt:lpwstr>
  </property>
  <property fmtid="{D5CDD505-2E9C-101B-9397-08002B2CF9AE}" pid="5" name="ItemRetentionFormula">
    <vt:lpwstr>&lt;formula id="Microsoft.Office.RecordsManagement.PolicyFeatures.Expiration.Formula.BuiltIn"&gt;&lt;number&gt;30&lt;/number&gt;&lt;property&gt;Modified&lt;/property&gt;&lt;propertyId&gt;28cf69c5-fa48-462a-b5cd-27b6f9d2bd5f&lt;/propertyId&gt;&lt;period&gt;days&lt;/period&gt;&lt;/formula&gt;</vt:lpwstr>
  </property>
</Properties>
</file>